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77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tags/tag33.xml" ContentType="application/vnd.openxmlformats-officedocument.presentationml.tags+xml"/>
  <Override PartName="/ppt/theme/theme1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8" r:id="rId5"/>
    <p:sldMasterId id="2147483696" r:id="rId6"/>
    <p:sldMasterId id="2147483725" r:id="rId7"/>
    <p:sldMasterId id="2147483731" r:id="rId8"/>
    <p:sldMasterId id="2147483739" r:id="rId9"/>
    <p:sldMasterId id="2147483744" r:id="rId10"/>
    <p:sldMasterId id="2147483746" r:id="rId11"/>
    <p:sldMasterId id="2147483748" r:id="rId12"/>
    <p:sldMasterId id="2147483769" r:id="rId13"/>
    <p:sldMasterId id="2147483787" r:id="rId14"/>
  </p:sldMasterIdLst>
  <p:notesMasterIdLst>
    <p:notesMasterId r:id="rId20"/>
  </p:notesMasterIdLst>
  <p:sldIdLst>
    <p:sldId id="2147473526" r:id="rId15"/>
    <p:sldId id="2147473527" r:id="rId16"/>
    <p:sldId id="2147473528" r:id="rId17"/>
    <p:sldId id="2147473529" r:id="rId18"/>
    <p:sldId id="2147473515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4E5C693-7407-4847-8ECD-30D1B9E7EFA9}">
          <p14:sldIdLst>
            <p14:sldId id="2147473526"/>
            <p14:sldId id="2147473527"/>
            <p14:sldId id="2147473528"/>
            <p14:sldId id="2147473529"/>
            <p14:sldId id="2147473515"/>
          </p14:sldIdLst>
        </p14:section>
        <p14:section name="Untitled Section" id="{7861EAF6-EAB3-594D-97C5-3A7C8FD3881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837060B-AE29-6E71-1EA6-AB8139882D35}" name="Smith, Kelly (PMO Manager)" initials="SK(M" userId="S::kelly.smith@sky.uk::772a6285-16a0-441e-9ae9-a2f9386063d3" providerId="AD"/>
  <p188:author id="{FD731DA2-CD20-2A0C-7A4A-16778EEE9933}" name="Parkash, Nisha (Head of Domain Management)" initials="PM" userId="S::nisha.parkash@sky.uk::9eb8d481-34b6-400b-8fe4-f212a8b0af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76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83"/>
    <p:restoredTop sz="94590"/>
  </p:normalViewPr>
  <p:slideViewPr>
    <p:cSldViewPr snapToGrid="0">
      <p:cViewPr varScale="1">
        <p:scale>
          <a:sx n="105" d="100"/>
          <a:sy n="105" d="100"/>
        </p:scale>
        <p:origin x="81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DF3E5-A136-4D6D-994D-984389DDE31A}" type="datetimeFigureOut">
              <a:rPr lang="en-GB" smtClean="0"/>
              <a:t>14/06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673ED3-0E95-4400-BEFC-870058FD8C5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9010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svg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2.xml"/><Relationship Id="rId6" Type="http://schemas.openxmlformats.org/officeDocument/2006/relationships/image" Target="../media/image5.png"/><Relationship Id="rId5" Type="http://schemas.openxmlformats.org/officeDocument/2006/relationships/image" Target="../media/image23.jpeg"/><Relationship Id="rId4" Type="http://schemas.openxmlformats.org/officeDocument/2006/relationships/image" Target="../media/image4.emf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754" y="4830533"/>
            <a:ext cx="10948492" cy="706140"/>
          </a:xfrm>
        </p:spPr>
        <p:txBody>
          <a:bodyPr anchor="b" anchorCtr="1">
            <a:noAutofit/>
          </a:bodyPr>
          <a:lstStyle>
            <a:lvl1pPr algn="ctr">
              <a:defRPr sz="2916">
                <a:solidFill>
                  <a:srgbClr val="0644A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755" y="5552549"/>
            <a:ext cx="10948492" cy="702834"/>
          </a:xfrm>
        </p:spPr>
        <p:txBody>
          <a:bodyPr anchor="t" anchorCtr="1">
            <a:noAutofit/>
          </a:bodyPr>
          <a:lstStyle>
            <a:lvl1pPr marL="0" indent="0" algn="ctr">
              <a:buNone/>
              <a:defRPr sz="2083">
                <a:solidFill>
                  <a:srgbClr val="323232"/>
                </a:solidFill>
                <a:latin typeface="+mn-lt"/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654" y="756175"/>
            <a:ext cx="8111479" cy="4563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9884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134081322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Sky Logo">
            <a:extLst>
              <a:ext uri="{FF2B5EF4-FFF2-40B4-BE49-F238E27FC236}">
                <a16:creationId xmlns:a16="http://schemas.microsoft.com/office/drawing/2014/main" id="{94BB4579-8471-5348-B1AD-A8C1D58EB2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ADB4E9-A5E4-E247-8477-A92761FB76A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406724968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-1"/>
            <a:ext cx="6102969" cy="685800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6" y="608571"/>
            <a:ext cx="5353595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20F6A7D-3E4B-5241-94AF-CF8EB9FCB6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629352-6E2F-AA42-B7BC-05B4A716071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97094333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Sky Logo">
            <a:extLst>
              <a:ext uri="{FF2B5EF4-FFF2-40B4-BE49-F238E27FC236}">
                <a16:creationId xmlns:a16="http://schemas.microsoft.com/office/drawing/2014/main" id="{37BEB63D-115C-5044-A4B5-E356A8C012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69250D2-3826-CC4F-B7E6-E16F831C1489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224563876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pic>
        <p:nvPicPr>
          <p:cNvPr id="6" name="Picture 5" descr="Sky Logo">
            <a:extLst>
              <a:ext uri="{FF2B5EF4-FFF2-40B4-BE49-F238E27FC236}">
                <a16:creationId xmlns:a16="http://schemas.microsoft.com/office/drawing/2014/main" id="{DA6E8290-73AE-5746-A428-DAA405069E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3D9D02-B47B-CD40-9AB9-9E26D3B43D90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268674985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043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6" kern="1200" dirty="0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0BD964-F2E2-E946-97AD-53CD448707E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92063087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1414DD-F1FF-C843-903F-988C0A8FD14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93780392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769107490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A0EA18-594C-D34F-A484-C0048D877BA7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691130749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" y="1"/>
            <a:ext cx="12192001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786386702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1"/>
            <a:ext cx="6089032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F689F95-F7B2-F94C-88BE-7B8EC3E04C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1"/>
            <a:ext cx="6102969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82647553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" y="1"/>
            <a:ext cx="12192001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2125347330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1"/>
            <a:ext cx="6102969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2968" y="-1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427463"/>
            <a:ext cx="6102968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2968" y="3427463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777729913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82627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0976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86200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77F02F-D94C-954F-A8E9-DFC6F146690A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6E00FF"/>
              </a:gs>
              <a:gs pos="100000">
                <a:srgbClr val="00FFDC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C2F201-3E04-6F4A-A8AC-904D53590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198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4211377059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871813415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2ECF4B-BA9B-7341-80BD-1C736FADF5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16610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70671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1"/>
            <a:ext cx="6089032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F689F95-F7B2-F94C-88BE-7B8EC3E04C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1"/>
            <a:ext cx="6102969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77090395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1"/>
            <a:ext cx="6102969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2968" y="-1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427463"/>
            <a:ext cx="6102968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2968" y="3427463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9253426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83510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15856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57139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77F02F-D94C-954F-A8E9-DFC6F146690A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6E00FF"/>
              </a:gs>
              <a:gs pos="100000">
                <a:srgbClr val="00FFDC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C2F201-3E04-6F4A-A8AC-904D53590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3766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754" y="5385584"/>
            <a:ext cx="10948492" cy="706140"/>
          </a:xfrm>
        </p:spPr>
        <p:txBody>
          <a:bodyPr anchor="b" anchorCtr="1">
            <a:noAutofit/>
          </a:bodyPr>
          <a:lstStyle>
            <a:lvl1pPr algn="ctr">
              <a:defRPr sz="2916" strike="sngStrike" baseline="0">
                <a:solidFill>
                  <a:srgbClr val="21429C"/>
                </a:solidFill>
                <a:latin typeface="+mn-lt"/>
              </a:defRPr>
            </a:lvl1pPr>
          </a:lstStyle>
          <a:p>
            <a:r>
              <a:rPr kumimoji="0" lang="en-US" sz="2916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+mj-lt"/>
                <a:ea typeface="+mj-ea"/>
              </a:rPr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754" y="6100710"/>
            <a:ext cx="10948492" cy="702834"/>
          </a:xfrm>
          <a:noFill/>
        </p:spPr>
        <p:txBody>
          <a:bodyPr anchor="t" anchorCtr="1">
            <a:noAutofit/>
          </a:bodyPr>
          <a:lstStyle>
            <a:lvl1pPr marL="0" indent="0" algn="ctr">
              <a:buNone/>
              <a:defRPr sz="2083">
                <a:solidFill>
                  <a:srgbClr val="323232"/>
                </a:solidFill>
                <a:latin typeface="+mn-lt"/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Picture 7" descr="Sky Logo">
            <a:extLst>
              <a:ext uri="{FF2B5EF4-FFF2-40B4-BE49-F238E27FC236}">
                <a16:creationId xmlns:a16="http://schemas.microsoft.com/office/drawing/2014/main" id="{1B0ACC0B-ACA5-8645-804C-356A9393B9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232" y="1201750"/>
            <a:ext cx="6009537" cy="36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7465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DFB65D-4EFA-3243-A06D-241117D58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pic>
        <p:nvPicPr>
          <p:cNvPr id="10" name="Picture 9" descr="Sky Logo">
            <a:extLst>
              <a:ext uri="{FF2B5EF4-FFF2-40B4-BE49-F238E27FC236}">
                <a16:creationId xmlns:a16="http://schemas.microsoft.com/office/drawing/2014/main" id="{52EA1D35-F1A5-9549-9CCA-8F7CEE09B2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32299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043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6" kern="120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E85494-2482-4B43-B308-A4E8A42205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0275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Sky Logo">
            <a:extLst>
              <a:ext uri="{FF2B5EF4-FFF2-40B4-BE49-F238E27FC236}">
                <a16:creationId xmlns:a16="http://schemas.microsoft.com/office/drawing/2014/main" id="{94BB4579-8471-5348-B1AD-A8C1D58EB2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ADB4E9-A5E4-E247-8477-A92761FB76A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27644907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-1"/>
            <a:ext cx="6102969" cy="685800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6" y="608571"/>
            <a:ext cx="5353595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20F6A7D-3E4B-5241-94AF-CF8EB9FCB6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629352-6E2F-AA42-B7BC-05B4A716071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83540525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ky Logo">
            <a:extLst>
              <a:ext uri="{FF2B5EF4-FFF2-40B4-BE49-F238E27FC236}">
                <a16:creationId xmlns:a16="http://schemas.microsoft.com/office/drawing/2014/main" id="{37BEB63D-115C-5044-A4B5-E356A8C012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69250D2-3826-CC4F-B7E6-E16F831C1489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56799028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pic>
        <p:nvPicPr>
          <p:cNvPr id="6" name="Picture 5" descr="Sky Logo">
            <a:extLst>
              <a:ext uri="{FF2B5EF4-FFF2-40B4-BE49-F238E27FC236}">
                <a16:creationId xmlns:a16="http://schemas.microsoft.com/office/drawing/2014/main" id="{DA6E8290-73AE-5746-A428-DAA405069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3D9D02-B47B-CD40-9AB9-9E26D3B43D90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69875538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043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6" kern="1200" dirty="0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0BD964-F2E2-E946-97AD-53CD448707E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419256432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1414DD-F1FF-C843-903F-988C0A8FD14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63193321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400769691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A0EA18-594C-D34F-A484-C0048D877BA7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62435301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" y="1"/>
            <a:ext cx="12192001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362071769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1"/>
            <a:ext cx="6089032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F689F95-F7B2-F94C-88BE-7B8EC3E04C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1"/>
            <a:ext cx="6102969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23348700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F908BC-F3FC-0C4D-9492-16C69EC17DCA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8E1B32-BC70-2F43-8632-6EDF29FA05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11089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1"/>
            <a:ext cx="6102969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2968" y="-1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427463"/>
            <a:ext cx="6102968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2968" y="3427463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85231597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04780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3845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0670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77F02F-D94C-954F-A8E9-DFC6F146690A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6E00FF"/>
              </a:gs>
              <a:gs pos="100000">
                <a:srgbClr val="00FFDC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C2F201-3E04-6F4A-A8AC-904D53590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39781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754" y="4830533"/>
            <a:ext cx="10948492" cy="706140"/>
          </a:xfrm>
        </p:spPr>
        <p:txBody>
          <a:bodyPr anchor="b" anchorCtr="1">
            <a:noAutofit/>
          </a:bodyPr>
          <a:lstStyle>
            <a:lvl1pPr algn="ctr">
              <a:defRPr sz="2916">
                <a:solidFill>
                  <a:srgbClr val="21429C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755" y="5552549"/>
            <a:ext cx="10948492" cy="702834"/>
          </a:xfrm>
          <a:noFill/>
        </p:spPr>
        <p:txBody>
          <a:bodyPr anchor="t" anchorCtr="1">
            <a:noAutofit/>
          </a:bodyPr>
          <a:lstStyle>
            <a:lvl1pPr marL="0" indent="0" algn="ctr">
              <a:buNone/>
              <a:defRPr sz="2083">
                <a:solidFill>
                  <a:srgbClr val="323232"/>
                </a:solidFill>
                <a:latin typeface="+mn-lt"/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Picture 7" descr="Sky Logo">
            <a:extLst>
              <a:ext uri="{FF2B5EF4-FFF2-40B4-BE49-F238E27FC236}">
                <a16:creationId xmlns:a16="http://schemas.microsoft.com/office/drawing/2014/main" id="{1B0ACC0B-ACA5-8645-804C-356A9393B9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232" y="1201750"/>
            <a:ext cx="6009537" cy="36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0636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DFB65D-4EFA-3243-A06D-241117D58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pic>
        <p:nvPicPr>
          <p:cNvPr id="10" name="Picture 9" descr="Sky Logo">
            <a:extLst>
              <a:ext uri="{FF2B5EF4-FFF2-40B4-BE49-F238E27FC236}">
                <a16:creationId xmlns:a16="http://schemas.microsoft.com/office/drawing/2014/main" id="{52EA1D35-F1A5-9549-9CCA-8F7CEE09B2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9925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Sky Logo">
            <a:extLst>
              <a:ext uri="{FF2B5EF4-FFF2-40B4-BE49-F238E27FC236}">
                <a16:creationId xmlns:a16="http://schemas.microsoft.com/office/drawing/2014/main" id="{94BB4579-8471-5348-B1AD-A8C1D58EB2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ADB4E9-A5E4-E247-8477-A92761FB76A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12971422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-1"/>
            <a:ext cx="6102969" cy="685800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6" y="608571"/>
            <a:ext cx="5353595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20F6A7D-3E4B-5241-94AF-CF8EB9FCB6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629352-6E2F-AA42-B7BC-05B4A716071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77124691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Sky Logo">
            <a:extLst>
              <a:ext uri="{FF2B5EF4-FFF2-40B4-BE49-F238E27FC236}">
                <a16:creationId xmlns:a16="http://schemas.microsoft.com/office/drawing/2014/main" id="{37BEB63D-115C-5044-A4B5-E356A8C012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69250D2-3826-CC4F-B7E6-E16F831C1489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15468704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-1"/>
            <a:ext cx="6102969" cy="685800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6" y="608571"/>
            <a:ext cx="5353595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20F6A7D-3E4B-5241-94AF-CF8EB9FCB6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EBA28E-828D-D74A-B032-FB5155A77190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12423511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pic>
        <p:nvPicPr>
          <p:cNvPr id="6" name="Picture 5" descr="Sky Logo">
            <a:extLst>
              <a:ext uri="{FF2B5EF4-FFF2-40B4-BE49-F238E27FC236}">
                <a16:creationId xmlns:a16="http://schemas.microsoft.com/office/drawing/2014/main" id="{DA6E8290-73AE-5746-A428-DAA405069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3D9D02-B47B-CD40-9AB9-9E26D3B43D90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72941966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043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6" kern="1200" dirty="0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0BD964-F2E2-E946-97AD-53CD448707E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81827463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1414DD-F1FF-C843-903F-988C0A8FD14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5184641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45157562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A0EA18-594C-D34F-A484-C0048D877BA7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7068243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" y="1"/>
            <a:ext cx="12192001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3414313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1"/>
            <a:ext cx="6089032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F689F95-F7B2-F94C-88BE-7B8EC3E04C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2" y="1"/>
            <a:ext cx="6102969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13760270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1"/>
            <a:ext cx="6102969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2968" y="-1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427463"/>
            <a:ext cx="6102968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2968" y="3427463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137107900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8933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5425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5428-9BE9-5844-8084-9046C43D0334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1391218-606F-DC48-9DE9-BD04C7925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98185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37241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77F02F-D94C-954F-A8E9-DFC6F146690A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6E00FF"/>
              </a:gs>
              <a:gs pos="100000">
                <a:srgbClr val="00FFDC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C2F201-3E04-6F4A-A8AC-904D53590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5782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2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8965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5" kern="120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13216859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1">
    <p:bg>
      <p:bgPr>
        <a:gradFill>
          <a:gsLst>
            <a:gs pos="0">
              <a:schemeClr val="accent1"/>
            </a:gs>
            <a:gs pos="10000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OW Colour O513.jpg" descr="NOW Colour O513.jpg">
            <a:extLst>
              <a:ext uri="{FF2B5EF4-FFF2-40B4-BE49-F238E27FC236}">
                <a16:creationId xmlns:a16="http://schemas.microsoft.com/office/drawing/2014/main" id="{AE227540-AF35-EA41-AA2E-2A870B9014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517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41556DF1-5C0C-5444-BCC6-0CB03B0FA26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95211" y="5030126"/>
            <a:ext cx="11401578" cy="378772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 algn="ctr">
              <a:defRPr sz="2500" b="0" i="0" u="none" spc="0" baseline="0">
                <a:solidFill>
                  <a:schemeClr val="bg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</a:lstStyle>
          <a:p>
            <a:r>
              <a:rPr lang="en-US"/>
              <a:t>Headline 24pt whit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A54D2BD-7565-7241-A674-2741A272F9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95211" y="5512555"/>
            <a:ext cx="11401578" cy="29641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67" b="0" i="0" baseline="0">
                <a:solidFill>
                  <a:schemeClr val="bg1"/>
                </a:solidFill>
                <a:latin typeface="NOW TV Text Light" panose="020F0303020202020204" pitchFamily="34" charset="77"/>
                <a:ea typeface="NOW TV Text Light" panose="020F0303020202020204" pitchFamily="34" charset="77"/>
                <a:cs typeface="Sky Text Light" panose="020B0306040202020204" pitchFamily="34" charset="0"/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ubhead 16pt whit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095F404-A730-8449-8D92-3B43887506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60751" y="2619932"/>
            <a:ext cx="5270261" cy="1613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4307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gradFill>
          <a:gsLst>
            <a:gs pos="0">
              <a:srgbClr val="000505"/>
            </a:gs>
            <a:gs pos="100000">
              <a:srgbClr val="082D2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F98C0-78A5-2E41-9746-12C6B2D8E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12" y="3105719"/>
            <a:ext cx="11401577" cy="644908"/>
          </a:xfrm>
        </p:spPr>
        <p:txBody>
          <a:bodyPr anchor="t"/>
          <a:lstStyle>
            <a:lvl1pPr algn="ctr">
              <a:defRPr sz="3333" b="0" i="0" cap="none" spc="0" baseline="0">
                <a:solidFill>
                  <a:schemeClr val="bg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</a:lstStyle>
          <a:p>
            <a:r>
              <a:rPr lang="en-US"/>
              <a:t>Divider headline 32pt white 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7F2947-88DC-214A-B66A-BBBC9F66BF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5211" y="3825424"/>
            <a:ext cx="11401574" cy="644908"/>
          </a:xfrm>
        </p:spPr>
        <p:txBody>
          <a:bodyPr anchor="t"/>
          <a:lstStyle>
            <a:lvl1pPr marL="0" indent="0" algn="ctr">
              <a:spcBef>
                <a:spcPts val="0"/>
              </a:spcBef>
              <a:buFontTx/>
              <a:buNone/>
              <a:defRPr sz="2500" b="0" i="0">
                <a:solidFill>
                  <a:srgbClr val="87CDD3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</a:lstStyle>
          <a:p>
            <a:r>
              <a:rPr lang="en-GB"/>
              <a:t>Divider subhead 24pt </a:t>
            </a:r>
            <a:r>
              <a:rPr lang="en-US"/>
              <a:t>green 03</a:t>
            </a: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BE0C43-6627-624B-8964-6DDDF83A0370}"/>
              </a:ext>
            </a:extLst>
          </p:cNvPr>
          <p:cNvSpPr txBox="1">
            <a:spLocks/>
          </p:cNvSpPr>
          <p:nvPr userDrawn="1"/>
        </p:nvSpPr>
        <p:spPr>
          <a:xfrm>
            <a:off x="5908505" y="6639242"/>
            <a:ext cx="374990" cy="12817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833" b="0" i="0">
                <a:solidFill>
                  <a:schemeClr val="bg1"/>
                </a:solidFill>
                <a:latin typeface="NOW TV Text" panose="020F0503020202020204" pitchFamily="34" charset="77"/>
                <a:ea typeface="NOW TV Text" panose="020F0503020202020204" pitchFamily="34" charset="77"/>
              </a:rPr>
              <a:pPr algn="ctr" eaLnBrk="1" hangingPunct="1"/>
              <a:t>‹#›</a:t>
            </a:fld>
            <a:endParaRPr lang="en-US" sz="833" b="0" i="0" dirty="0">
              <a:solidFill>
                <a:schemeClr val="bg1"/>
              </a:solidFill>
              <a:latin typeface="NOW TV Text" panose="020F0503020202020204" pitchFamily="34" charset="77"/>
              <a:ea typeface="NOW TV Text" panose="020F0503020202020204" pitchFamily="34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602CA4-C179-3143-A6C4-E8CF110905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28714" y="6429686"/>
            <a:ext cx="675458" cy="21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743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3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F98C0-78A5-2E41-9746-12C6B2D8E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12" y="428315"/>
            <a:ext cx="11401577" cy="441545"/>
          </a:xfrm>
        </p:spPr>
        <p:txBody>
          <a:bodyPr/>
          <a:lstStyle>
            <a:lvl1pPr>
              <a:defRPr>
                <a:solidFill>
                  <a:srgbClr val="002C2B"/>
                </a:solidFill>
              </a:defRPr>
            </a:lvl1pPr>
          </a:lstStyle>
          <a:p>
            <a:r>
              <a:rPr lang="en-US"/>
              <a:t>Headline 28pt green 06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FA4063-DF62-7C45-8609-6DEE8BF79B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212" y="869860"/>
            <a:ext cx="11401577" cy="386640"/>
          </a:xfrm>
        </p:spPr>
        <p:txBody>
          <a:bodyPr/>
          <a:lstStyle>
            <a:lvl1pPr>
              <a:buNone/>
              <a:defRPr sz="2083">
                <a:solidFill>
                  <a:srgbClr val="35A5AD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Subhead 20pt green 03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C0F2990-67B5-5140-828C-95304293ADC6}"/>
              </a:ext>
            </a:extLst>
          </p:cNvPr>
          <p:cNvCxnSpPr>
            <a:cxnSpLocks/>
          </p:cNvCxnSpPr>
          <p:nvPr userDrawn="1"/>
        </p:nvCxnSpPr>
        <p:spPr>
          <a:xfrm>
            <a:off x="0" y="6838155"/>
            <a:ext cx="12192000" cy="0"/>
          </a:xfrm>
          <a:prstGeom prst="line">
            <a:avLst/>
          </a:prstGeom>
          <a:ln w="38100">
            <a:gradFill>
              <a:gsLst>
                <a:gs pos="100000">
                  <a:srgbClr val="35A5AD"/>
                </a:gs>
                <a:gs pos="0">
                  <a:srgbClr val="082D2B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9B15ED9-A3F3-8C44-B7F4-7AD3C938B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572" t="-4047" r="-2415" b="-2205"/>
          <a:stretch/>
        </p:blipFill>
        <p:spPr>
          <a:xfrm>
            <a:off x="11118205" y="6421793"/>
            <a:ext cx="705041" cy="233333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4025B5F-65DD-4D43-8E5F-DDBAA82E99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211" y="6328658"/>
            <a:ext cx="5587517" cy="2923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833">
                <a:solidFill>
                  <a:schemeClr val="tx1"/>
                </a:solidFill>
              </a:defRPr>
            </a:lvl1pPr>
            <a:lvl2pPr>
              <a:buNone/>
              <a:defRPr sz="833"/>
            </a:lvl2pPr>
            <a:lvl3pPr>
              <a:buNone/>
              <a:defRPr sz="833"/>
            </a:lvl3pPr>
            <a:lvl4pPr>
              <a:buNone/>
              <a:defRPr sz="833"/>
            </a:lvl4pPr>
            <a:lvl5pPr>
              <a:buNone/>
              <a:defRPr sz="833"/>
            </a:lvl5pPr>
          </a:lstStyle>
          <a:p>
            <a:pPr lvl="0"/>
            <a:r>
              <a:rPr lang="en-US"/>
              <a:t>Footer 8pt black</a:t>
            </a:r>
          </a:p>
        </p:txBody>
      </p:sp>
    </p:spTree>
    <p:extLst>
      <p:ext uri="{BB962C8B-B14F-4D97-AF65-F5344CB8AC3E}">
        <p14:creationId xmlns:p14="http://schemas.microsoft.com/office/powerpoint/2010/main" val="19788233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ab and 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F98C0-78A5-2E41-9746-12C6B2D8ED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13" y="428316"/>
            <a:ext cx="11401577" cy="441545"/>
          </a:xfrm>
        </p:spPr>
        <p:txBody>
          <a:bodyPr/>
          <a:lstStyle>
            <a:lvl1pPr>
              <a:defRPr>
                <a:solidFill>
                  <a:srgbClr val="002C2B"/>
                </a:solidFill>
              </a:defRPr>
            </a:lvl1pPr>
          </a:lstStyle>
          <a:p>
            <a:r>
              <a:rPr lang="en-US"/>
              <a:t>Headline 28pt green 06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FA4063-DF62-7C45-8609-6DEE8BF79B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213" y="869860"/>
            <a:ext cx="11401577" cy="386640"/>
          </a:xfrm>
        </p:spPr>
        <p:txBody>
          <a:bodyPr/>
          <a:lstStyle>
            <a:lvl1pPr>
              <a:buNone/>
              <a:defRPr sz="2083">
                <a:solidFill>
                  <a:srgbClr val="35A5AD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Subhead 20pt green 03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E15458D-9AC7-D44B-9CED-A58DC51A4E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211" y="6328659"/>
            <a:ext cx="5587517" cy="29239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833">
                <a:solidFill>
                  <a:schemeClr val="tx1"/>
                </a:solidFill>
              </a:defRPr>
            </a:lvl1pPr>
            <a:lvl2pPr>
              <a:buNone/>
              <a:defRPr sz="833"/>
            </a:lvl2pPr>
            <a:lvl3pPr>
              <a:buNone/>
              <a:defRPr sz="833"/>
            </a:lvl3pPr>
            <a:lvl4pPr>
              <a:buNone/>
              <a:defRPr sz="833"/>
            </a:lvl4pPr>
            <a:lvl5pPr>
              <a:buNone/>
              <a:defRPr sz="833"/>
            </a:lvl5pPr>
          </a:lstStyle>
          <a:p>
            <a:pPr lvl="0"/>
            <a:r>
              <a:rPr lang="en-US"/>
              <a:t>Footer 8pt black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0D12D6C-7530-064B-8F23-3BB48174CC73}"/>
              </a:ext>
            </a:extLst>
          </p:cNvPr>
          <p:cNvCxnSpPr>
            <a:cxnSpLocks/>
          </p:cNvCxnSpPr>
          <p:nvPr userDrawn="1"/>
        </p:nvCxnSpPr>
        <p:spPr>
          <a:xfrm>
            <a:off x="0" y="6838155"/>
            <a:ext cx="12192000" cy="0"/>
          </a:xfrm>
          <a:prstGeom prst="line">
            <a:avLst/>
          </a:prstGeom>
          <a:ln w="38100">
            <a:gradFill>
              <a:gsLst>
                <a:gs pos="100000">
                  <a:srgbClr val="35A5AD"/>
                </a:gs>
                <a:gs pos="0">
                  <a:srgbClr val="082D2B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hart Placeholder 3">
            <a:extLst>
              <a:ext uri="{FF2B5EF4-FFF2-40B4-BE49-F238E27FC236}">
                <a16:creationId xmlns:a16="http://schemas.microsoft.com/office/drawing/2014/main" id="{F32915B8-DD52-3D4C-8ECF-0B4F5B82ED51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391779" y="2798853"/>
            <a:ext cx="3641151" cy="274002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Chart Placeholder 3">
            <a:extLst>
              <a:ext uri="{FF2B5EF4-FFF2-40B4-BE49-F238E27FC236}">
                <a16:creationId xmlns:a16="http://schemas.microsoft.com/office/drawing/2014/main" id="{91D2A0E9-5C6B-4142-9CCE-B545C567746E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8155641" y="2798853"/>
            <a:ext cx="3641151" cy="274002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5DF65AF-3642-5F44-94EB-2C774A5D1F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1779" y="2368063"/>
            <a:ext cx="3641151" cy="430784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algn="ctr">
              <a:spcBef>
                <a:spcPts val="0"/>
              </a:spcBef>
              <a:buNone/>
              <a:defRPr lang="en-US" sz="1250" b="0" i="0" dirty="0">
                <a:solidFill>
                  <a:schemeClr val="tx1">
                    <a:lumMod val="50000"/>
                    <a:lumOff val="50000"/>
                  </a:schemeClr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0" lvl="0" algn="ctr"/>
            <a:r>
              <a:rPr lang="en-US"/>
              <a:t>Chart title 12pt grey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D1B51C3-13D8-234E-A25D-A16562986F5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55641" y="2368063"/>
            <a:ext cx="3641151" cy="430784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algn="ctr">
              <a:spcBef>
                <a:spcPts val="0"/>
              </a:spcBef>
              <a:buNone/>
              <a:defRPr lang="en-US" sz="1250" b="0" i="0" dirty="0">
                <a:solidFill>
                  <a:schemeClr val="tx1">
                    <a:lumMod val="50000"/>
                    <a:lumOff val="50000"/>
                  </a:schemeClr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0" lvl="0" algn="ctr"/>
            <a:r>
              <a:rPr lang="en-US"/>
              <a:t>Chart title 12pt grey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589074A-C402-8941-9612-0CD9C95592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91779" y="5538881"/>
            <a:ext cx="3641151" cy="670308"/>
          </a:xfr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0" tIns="72000" rIns="72000" anchor="t"/>
          <a:lstStyle>
            <a:lvl1pPr marL="164163" marR="0" indent="-164163" algn="l" defTabSz="12190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A2AB"/>
              </a:buClr>
              <a:buSzTx/>
              <a:buFont typeface="Arial" panose="020B0604020202020204" pitchFamily="34" charset="0"/>
              <a:buChar char="•"/>
              <a:tabLst/>
              <a:defRPr sz="1250" b="0" i="0">
                <a:solidFill>
                  <a:schemeClr val="tx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164163" marR="0" lvl="0" indent="-164163" algn="l" defTabSz="12190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A2AB"/>
              </a:buClr>
              <a:buSzTx/>
              <a:tabLst/>
              <a:defRPr/>
            </a:pPr>
            <a:r>
              <a:rPr lang="en-US"/>
              <a:t>Bullet 12pt black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094B9B0-3CC8-7840-947E-FC97B576305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55641" y="5538881"/>
            <a:ext cx="3641151" cy="670308"/>
          </a:xfr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0" tIns="72000" rIns="72000" anchor="t"/>
          <a:lstStyle>
            <a:lvl1pPr marL="164163" marR="0" indent="-164163" algn="l" defTabSz="12190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A2AB"/>
              </a:buClr>
              <a:buSzTx/>
              <a:buFont typeface="Arial" panose="020B0604020202020204" pitchFamily="34" charset="0"/>
              <a:buChar char="•"/>
              <a:tabLst/>
              <a:defRPr sz="1250" b="0" i="0">
                <a:solidFill>
                  <a:schemeClr val="tx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164163" marR="0" lvl="0" indent="-164163" algn="l" defTabSz="12190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A2AB"/>
              </a:buClr>
              <a:buSzTx/>
              <a:tabLst/>
              <a:defRPr/>
            </a:pPr>
            <a:r>
              <a:rPr lang="en-US"/>
              <a:t>Bullet 12pt black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58C6A6A-108F-7C43-8E5C-967E27C400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5211" y="1775243"/>
            <a:ext cx="3641151" cy="592818"/>
          </a:xfrm>
          <a:gradFill>
            <a:gsLst>
              <a:gs pos="0">
                <a:srgbClr val="001112"/>
              </a:gs>
              <a:gs pos="100000">
                <a:srgbClr val="004A4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algn="ctr">
              <a:spcBef>
                <a:spcPts val="0"/>
              </a:spcBef>
              <a:buNone/>
              <a:defRPr lang="en-US" sz="1667" b="0" i="0" dirty="0">
                <a:solidFill>
                  <a:schemeClr val="bg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0" lvl="0" algn="ctr"/>
            <a:r>
              <a:rPr lang="en-US"/>
              <a:t>Title 16pt whit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A4D8486-C709-8440-AD52-EDF9BF3C1B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77141" y="1775243"/>
            <a:ext cx="3641151" cy="592818"/>
          </a:xfrm>
          <a:gradFill>
            <a:gsLst>
              <a:gs pos="0">
                <a:srgbClr val="004E52"/>
              </a:gs>
              <a:gs pos="100000">
                <a:srgbClr val="00727A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algn="ctr">
              <a:spcBef>
                <a:spcPts val="0"/>
              </a:spcBef>
              <a:buNone/>
              <a:defRPr lang="en-US" sz="1667" b="0" i="0" dirty="0">
                <a:solidFill>
                  <a:schemeClr val="bg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0" lvl="0" algn="ctr"/>
            <a:r>
              <a:rPr lang="en-US"/>
              <a:t>Title 16pt whit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C0618B7-BCD8-804A-A84F-0625B0F768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59071" y="1775243"/>
            <a:ext cx="3641151" cy="592818"/>
          </a:xfrm>
          <a:gradFill>
            <a:gsLst>
              <a:gs pos="0">
                <a:srgbClr val="00747C"/>
              </a:gs>
              <a:gs pos="100000">
                <a:srgbClr val="008089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algn="ctr">
              <a:spcBef>
                <a:spcPts val="0"/>
              </a:spcBef>
              <a:buNone/>
              <a:defRPr lang="en-US" sz="1667" b="0" i="0" dirty="0">
                <a:solidFill>
                  <a:schemeClr val="bg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0" lvl="0" algn="ctr"/>
            <a:r>
              <a:rPr lang="en-US"/>
              <a:t>Title 16pt white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8A2FDBA8-D1BD-8147-BB6B-F41ECCC7A4C6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73710" y="2798853"/>
            <a:ext cx="3641151" cy="274002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9DC0182-1C55-754E-869D-25A9CEFC52C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73710" y="2368063"/>
            <a:ext cx="3641151" cy="430784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algn="ctr">
              <a:spcBef>
                <a:spcPts val="0"/>
              </a:spcBef>
              <a:buNone/>
              <a:defRPr lang="en-US" sz="1250" b="0" i="0" dirty="0">
                <a:solidFill>
                  <a:schemeClr val="tx1">
                    <a:lumMod val="50000"/>
                    <a:lumOff val="50000"/>
                  </a:schemeClr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0" lvl="0" algn="ctr"/>
            <a:r>
              <a:rPr lang="en-US"/>
              <a:t>Chart title 12pt grey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1494A43-1734-B242-992F-6E5352D478C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73710" y="5538881"/>
            <a:ext cx="3641151" cy="670308"/>
          </a:xfr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0" tIns="72000" rIns="72000" anchor="t"/>
          <a:lstStyle>
            <a:lvl1pPr marL="164163" marR="0" indent="-164163" algn="l" defTabSz="12190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A2AB"/>
              </a:buClr>
              <a:buSzTx/>
              <a:buFont typeface="Arial" panose="020B0604020202020204" pitchFamily="34" charset="0"/>
              <a:buChar char="•"/>
              <a:tabLst/>
              <a:defRPr sz="1250" b="0" i="0">
                <a:solidFill>
                  <a:schemeClr val="tx1"/>
                </a:solidFill>
                <a:latin typeface="NOW TV Text Light" panose="020F0303020202020204" pitchFamily="34" charset="77"/>
                <a:ea typeface="NOW TV Text Light" panose="020F0303020202020204" pitchFamily="34" charset="77"/>
              </a:defRPr>
            </a:lvl1pPr>
            <a:lvl2pPr algn="ctr">
              <a:buNone/>
              <a:defRPr sz="1667"/>
            </a:lvl2pPr>
            <a:lvl3pPr algn="ctr">
              <a:buNone/>
              <a:defRPr sz="1667"/>
            </a:lvl3pPr>
            <a:lvl4pPr algn="ctr">
              <a:buNone/>
              <a:defRPr sz="1667"/>
            </a:lvl4pPr>
            <a:lvl5pPr algn="ctr">
              <a:buNone/>
              <a:defRPr sz="1667"/>
            </a:lvl5pPr>
          </a:lstStyle>
          <a:p>
            <a:pPr marL="164163" marR="0" lvl="0" indent="-164163" algn="l" defTabSz="12190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A2AB"/>
              </a:buClr>
              <a:buSzTx/>
              <a:tabLst/>
              <a:defRPr/>
            </a:pPr>
            <a:r>
              <a:rPr lang="en-US"/>
              <a:t>Bullet 12pt black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14E3361-0B55-4EF9-B34C-AFA0CF42BD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572" t="-4047" r="-2415" b="-2205"/>
          <a:stretch/>
        </p:blipFill>
        <p:spPr>
          <a:xfrm>
            <a:off x="11118205" y="6421794"/>
            <a:ext cx="705041" cy="2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4235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8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B55B6C4F-D3EC-3947-B4B2-3F6B828313D4}" type="datetime1">
              <a:rPr lang="it-IT" smtClean="0"/>
              <a:t>14/06/24</a:t>
            </a:fld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00928" y="6225843"/>
            <a:ext cx="551129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166768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2" cy="10600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754" y="1668610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1" y="1668610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772876" y="6261290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rgbClr val="323232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rgbClr val="323232"/>
              </a:solidFill>
              <a:latin typeface="+mj-lt"/>
              <a:ea typeface="Sky Text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0" y="5892224"/>
            <a:ext cx="4872592" cy="347282"/>
          </a:xfrm>
        </p:spPr>
        <p:txBody>
          <a:bodyPr anchor="b"/>
          <a:lstStyle>
            <a:lvl1pPr marL="0" indent="0">
              <a:buNone/>
              <a:defRPr sz="1042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401" y="5731584"/>
            <a:ext cx="1096154" cy="672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5070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516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432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432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6183"/>
          </a:xfrm>
          <a:prstGeom prst="rect">
            <a:avLst/>
          </a:prstGeom>
        </p:spPr>
        <p:txBody>
          <a:bodyPr/>
          <a:lstStyle/>
          <a:p>
            <a:fld id="{4A983831-E6CB-4969-9D46-1DD3AD1C208F}" type="datetimeFigureOut">
              <a:rPr lang="it-IT" smtClean="0"/>
              <a:t>14/06/24</a:t>
            </a:fld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618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6183"/>
          </a:xfrm>
          <a:prstGeom prst="rect">
            <a:avLst/>
          </a:prstGeom>
        </p:spPr>
        <p:txBody>
          <a:bodyPr/>
          <a:lstStyle/>
          <a:p>
            <a:fld id="{08CC2837-360A-44E6-B3C2-17F8BA1C6A06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602597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2ECF4B-BA9B-7341-80BD-1C736FADF5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84805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1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raphik Light" panose="020B0403030202060203" pitchFamily="34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1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585">
              <a:spcAft>
                <a:spcPts val="1200"/>
              </a:spcAft>
              <a:defRPr/>
            </a:pPr>
            <a:r>
              <a:rPr lang="en-GB" dirty="0"/>
              <a:t>Copyright © 2022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04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6158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261290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rgbClr val="323232"/>
                </a:solidFill>
                <a:latin typeface="+mj-lt"/>
              </a:rPr>
              <a:pPr algn="ctr" eaLnBrk="1" hangingPunct="1"/>
              <a:t>‹#›</a:t>
            </a:fld>
            <a:endParaRPr lang="en-US" sz="937" dirty="0">
              <a:solidFill>
                <a:srgbClr val="323232"/>
              </a:solidFill>
              <a:latin typeface="+mj-lt"/>
            </a:endParaRPr>
          </a:p>
        </p:txBody>
      </p:sp>
      <p:pic>
        <p:nvPicPr>
          <p:cNvPr id="7" name="Picture 6" descr="Sky-O2-glassmark (no shadow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8226" y="5665264"/>
            <a:ext cx="1211371" cy="8565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12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16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755" y="1668608"/>
            <a:ext cx="10948492" cy="4223616"/>
          </a:xfrm>
        </p:spPr>
        <p:txBody>
          <a:bodyPr lIns="0" tIns="0" rIns="0" bIns="0"/>
          <a:lstStyle>
            <a:lvl1pPr>
              <a:buClr>
                <a:schemeClr val="accent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chemeClr val="accent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chemeClr val="accent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chemeClr val="accent1"/>
              </a:buClr>
              <a:defRPr sz="1250">
                <a:solidFill>
                  <a:srgbClr val="323232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0" y="5892224"/>
            <a:ext cx="4872592" cy="347282"/>
          </a:xfrm>
        </p:spPr>
        <p:txBody>
          <a:bodyPr anchor="b"/>
          <a:lstStyle>
            <a:lvl1pPr marL="0" indent="0">
              <a:buNone/>
              <a:defRPr sz="1042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32000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2ECF4B-BA9B-7341-80BD-1C736FADF5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82896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6164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F908BC-F3FC-0C4D-9492-16C69EC17DCA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8E1B32-BC70-2F43-8632-6EDF29FA05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7819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754" y="4830533"/>
            <a:ext cx="10948492" cy="706140"/>
          </a:xfrm>
        </p:spPr>
        <p:txBody>
          <a:bodyPr anchor="b" anchorCtr="1">
            <a:noAutofit/>
          </a:bodyPr>
          <a:lstStyle>
            <a:lvl1pPr algn="ctr">
              <a:defRPr sz="2916">
                <a:solidFill>
                  <a:srgbClr val="0644A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755" y="5552549"/>
            <a:ext cx="10948492" cy="702834"/>
          </a:xfrm>
        </p:spPr>
        <p:txBody>
          <a:bodyPr anchor="t" anchorCtr="1">
            <a:noAutofit/>
          </a:bodyPr>
          <a:lstStyle>
            <a:lvl1pPr marL="0" indent="0" algn="ctr">
              <a:buNone/>
              <a:defRPr sz="2083">
                <a:solidFill>
                  <a:srgbClr val="323232"/>
                </a:solidFill>
                <a:latin typeface="+mn-lt"/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654" y="756175"/>
            <a:ext cx="8111479" cy="456305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3C58B0-C45B-3843-9B3B-0D8216DF9F5B}"/>
              </a:ext>
            </a:extLst>
          </p:cNvPr>
          <p:cNvSpPr txBox="1">
            <a:spLocks/>
          </p:cNvSpPr>
          <p:nvPr userDrawn="1"/>
        </p:nvSpPr>
        <p:spPr>
          <a:xfrm>
            <a:off x="10117133" y="208025"/>
            <a:ext cx="1859959" cy="265008"/>
          </a:xfrm>
          <a:prstGeom prst="rect">
            <a:avLst/>
          </a:prstGeom>
        </p:spPr>
        <p:txBody>
          <a:bodyPr anchor="b"/>
          <a:lstStyle>
            <a:lvl1pPr marL="0" indent="0" algn="l" defTabSz="1170432" rtl="0" eaLnBrk="1" latinLnBrk="0" hangingPunct="1">
              <a:spcBef>
                <a:spcPts val="768"/>
              </a:spcBef>
              <a:buClr>
                <a:srgbClr val="0644A1"/>
              </a:buClr>
              <a:buFont typeface="Arial" pitchFamily="34" charset="0"/>
              <a:buNone/>
              <a:defRPr sz="9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68000" indent="-216000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Arial" pitchFamily="34" charset="0"/>
              <a:buChar char="–"/>
              <a:tabLst/>
              <a:defRPr sz="16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2pPr>
            <a:lvl3pPr marL="640800" indent="-172800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Lucida Grande"/>
              <a:buChar char="­"/>
              <a:tabLst/>
              <a:defRPr sz="14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3pPr>
            <a:lvl4pPr marL="835200" indent="-179388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Arial" pitchFamily="34" charset="0"/>
              <a:buChar char="–"/>
              <a:tabLst/>
              <a:defRPr sz="12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4pPr>
            <a:lvl5pPr marL="2633472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218688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904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9120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336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2" b="1" baseline="0" dirty="0"/>
              <a:t>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9800265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043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6" kern="1200" dirty="0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0BD964-F2E2-E946-97AD-53CD448707E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68060703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1506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Sky Logo">
            <a:extLst>
              <a:ext uri="{FF2B5EF4-FFF2-40B4-BE49-F238E27FC236}">
                <a16:creationId xmlns:a16="http://schemas.microsoft.com/office/drawing/2014/main" id="{94BB4579-8471-5348-B1AD-A8C1D58EB2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ADB4E9-A5E4-E247-8477-A92761FB76AF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89995468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9043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6" kern="120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78781850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997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1"/>
            <a:ext cx="6102969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2968" y="-1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427463"/>
            <a:ext cx="6102968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2968" y="3427463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361342467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67662620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04031930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2ECF4B-BA9B-7341-80BD-1C736FADF5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4713" y="5659028"/>
            <a:ext cx="1206991" cy="85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06768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97648" y="293537"/>
            <a:ext cx="11596705" cy="6270928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3076322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90695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772876" y="6558492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6" name="Picture 5" descr="Sky Logo">
            <a:extLst>
              <a:ext uri="{FF2B5EF4-FFF2-40B4-BE49-F238E27FC236}">
                <a16:creationId xmlns:a16="http://schemas.microsoft.com/office/drawing/2014/main" id="{A1AE85B2-CBD2-47EC-8EFF-9041E85DAB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965" y="6007079"/>
            <a:ext cx="793283" cy="48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0174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766E3-6403-4138-4A19-7CE39D0337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020B91-39DE-CB9B-32FD-D123DD0F0E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776989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>
            <a:extLst>
              <a:ext uri="{FF2B5EF4-FFF2-40B4-BE49-F238E27FC236}">
                <a16:creationId xmlns:a16="http://schemas.microsoft.com/office/drawing/2014/main" id="{ACE9F884-F2E0-43CB-8331-263F2C30F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827" y="1747839"/>
            <a:ext cx="261142" cy="3362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7CE8008-6F61-4889-97E3-9927EE01B9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546" y="1829310"/>
            <a:ext cx="2710396" cy="3199381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407F85-EA4F-4971-BD0F-864EE3ECF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9852" y="3220832"/>
            <a:ext cx="3897187" cy="416334"/>
          </a:xfrm>
        </p:spPr>
        <p:txBody>
          <a:bodyPr lIns="0" tIns="0" rIns="0" bIns="0" anchor="ctr">
            <a:noAutofit/>
          </a:bodyPr>
          <a:lstStyle>
            <a:lvl1pPr marL="0" marR="0" indent="0" algn="ctr" defTabSz="1218965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5" kern="120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740D5D0-ED47-4DDC-9512-13B9B8B091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9851" y="3794541"/>
            <a:ext cx="3897187" cy="416334"/>
          </a:xfrm>
        </p:spPr>
        <p:txBody>
          <a:bodyPr anchor="ctr" anchorCtr="1">
            <a:noAutofit/>
          </a:bodyPr>
          <a:lstStyle>
            <a:lvl1pPr marL="0" indent="0" algn="ctr">
              <a:buNone/>
              <a:defRPr sz="2083">
                <a:solidFill>
                  <a:srgbClr val="323232"/>
                </a:solidFill>
                <a:latin typeface="+mn-lt"/>
              </a:defRPr>
            </a:lvl1pPr>
            <a:lvl2pPr marL="609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7901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022677F-876D-4C54-AF62-AC8F433C6A3B}"/>
              </a:ext>
            </a:extLst>
          </p:cNvPr>
          <p:cNvSpPr txBox="1"/>
          <p:nvPr userDrawn="1"/>
        </p:nvSpPr>
        <p:spPr>
          <a:xfrm>
            <a:off x="610179" y="3126387"/>
            <a:ext cx="1656526" cy="60523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algn="ctr" defTabSz="1169914">
              <a:spcBef>
                <a:spcPts val="768"/>
              </a:spcBef>
              <a:buClr>
                <a:srgbClr val="E75808"/>
              </a:buClr>
              <a:defRPr sz="2800" b="1">
                <a:gradFill flip="none" rotWithShape="1">
                  <a:gsLst>
                    <a:gs pos="0">
                      <a:srgbClr val="C03E7D"/>
                    </a:gs>
                    <a:gs pos="100000">
                      <a:srgbClr val="E84D23"/>
                    </a:gs>
                  </a:gsLst>
                  <a:lin ang="0" scaled="1"/>
                  <a:tileRect/>
                </a:gradFill>
                <a:latin typeface="Sky Text"/>
              </a:defRPr>
            </a:lvl1pPr>
          </a:lstStyle>
          <a:p>
            <a:pPr algn="r" defTabSz="1218183">
              <a:spcBef>
                <a:spcPts val="0"/>
              </a:spcBef>
            </a:pPr>
            <a:r>
              <a:rPr lang="en-US" sz="3333" b="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rPr>
              <a:t>Agend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7E17F3-C91A-41E5-A2EB-C08E7E912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7969" y="1439207"/>
            <a:ext cx="102624" cy="3979587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A7C16F8-8F72-4283-BB26-55661452B961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9AE39CF-05FD-4910-8011-F61DDA00A3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2433" y="5827342"/>
            <a:ext cx="806542" cy="952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14299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1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F908BC-F3FC-0C4D-9492-16C69EC17DCA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75541082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2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8965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5" kern="120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80FBBD-62BF-4C60-8500-7F762B3CC4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2433" y="5827342"/>
            <a:ext cx="806542" cy="952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13246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2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2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8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F908BC-F3FC-0C4D-9492-16C69EC17DCA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59867A4-2E95-43A5-8C4D-FE92B4C9A3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2433" y="5827342"/>
            <a:ext cx="806542" cy="952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759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3" y="-1"/>
            <a:ext cx="6102969" cy="685800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7" y="608572"/>
            <a:ext cx="5353595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EBA28E-828D-D74A-B032-FB5155A77190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891420153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ky Difference White World.jpg">
            <a:extLst>
              <a:ext uri="{FF2B5EF4-FFF2-40B4-BE49-F238E27FC236}">
                <a16:creationId xmlns:a16="http://schemas.microsoft.com/office/drawing/2014/main" id="{CE98446C-77D1-4580-9EB0-0266F2B43A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1"/>
            <a:ext cx="1219047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5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5428-9BE9-5844-8084-9046C43D0334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6" name="Picture 26">
            <a:extLst>
              <a:ext uri="{FF2B5EF4-FFF2-40B4-BE49-F238E27FC236}">
                <a16:creationId xmlns:a16="http://schemas.microsoft.com/office/drawing/2014/main" id="{B33E4E6B-77A6-4CE6-AA6F-A0360BBADB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1266" y="5923975"/>
            <a:ext cx="2369610" cy="592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59750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ky Difference White World.jpg">
            <a:extLst>
              <a:ext uri="{FF2B5EF4-FFF2-40B4-BE49-F238E27FC236}">
                <a16:creationId xmlns:a16="http://schemas.microsoft.com/office/drawing/2014/main" id="{CE98446C-77D1-4580-9EB0-0266F2B43A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1"/>
            <a:ext cx="1219047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5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5428-9BE9-5844-8084-9046C43D0334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3970046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4" name="Picture 26">
            <a:extLst>
              <a:ext uri="{FF2B5EF4-FFF2-40B4-BE49-F238E27FC236}">
                <a16:creationId xmlns:a16="http://schemas.microsoft.com/office/drawing/2014/main" id="{3199CD9F-1FF9-43F1-865D-1996C0AD9C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2936" y="5986724"/>
            <a:ext cx="2369610" cy="592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93267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2"/>
            <a:ext cx="10948492" cy="1060039"/>
          </a:xfrm>
        </p:spPr>
        <p:txBody>
          <a:bodyPr lIns="0" tIns="0" rIns="0" bIns="0">
            <a:noAutofit/>
          </a:bodyPr>
          <a:lstStyle>
            <a:lvl1pPr marL="0" marR="0" indent="0" algn="l" defTabSz="1218965" rtl="0" eaLnBrk="1" fontAlgn="auto" latinLnBrk="0" hangingPunct="1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915" kern="1200" dirty="0">
                <a:gradFill flip="none" rotWithShape="1">
                  <a:gsLst>
                    <a:gs pos="0">
                      <a:srgbClr val="F08300"/>
                    </a:gs>
                    <a:gs pos="100000">
                      <a:srgbClr val="0644A1"/>
                    </a:gs>
                    <a:gs pos="35000">
                      <a:srgbClr val="E30010"/>
                    </a:gs>
                    <a:gs pos="80000">
                      <a:srgbClr val="A72879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B147CB-5709-460C-B514-C40320B90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2433" y="5827342"/>
            <a:ext cx="806542" cy="952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68778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5" y="608572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54" y="1684486"/>
            <a:ext cx="5353596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2502" y="1684486"/>
            <a:ext cx="5347745" cy="4223614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8">
                <a:solidFill>
                  <a:srgbClr val="323232"/>
                </a:solidFill>
              </a:defRPr>
            </a:lvl3pPr>
            <a:lvl4pPr>
              <a:defRPr sz="1250">
                <a:solidFill>
                  <a:srgbClr val="323232"/>
                </a:solidFill>
              </a:defRPr>
            </a:lvl4pPr>
            <a:lvl5pPr>
              <a:defRPr sz="1562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F908BC-F3FC-0C4D-9492-16C69EC17DCA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00346760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5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5428-9BE9-5844-8084-9046C43D0334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5FA43C-8DF4-4076-A52F-C30965D87D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2433" y="5827342"/>
            <a:ext cx="806542" cy="952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876324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8EB114F-5559-F645-B568-B7FAC739917B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16881658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5428-9BE9-5844-8084-9046C43D0334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020835717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2"/>
            <a:ext cx="12192001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78612007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2"/>
            <a:ext cx="6089032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F689F95-F7B2-F94C-88BE-7B8EC3E04C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89033" y="2"/>
            <a:ext cx="6102969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233105538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"/>
            <a:ext cx="6102969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02968" y="-1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427463"/>
            <a:ext cx="6102968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02968" y="3427463"/>
            <a:ext cx="6089032" cy="34274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520971147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" y="1"/>
            <a:ext cx="12191999" cy="6857999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56" y="3076323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6777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" y="1"/>
            <a:ext cx="12191999" cy="6857999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6" y="3076323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91738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" y="1"/>
            <a:ext cx="12191999" cy="6857999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6" y="3076323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21714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77F02F-D94C-954F-A8E9-DFC6F146690A}"/>
              </a:ext>
            </a:extLst>
          </p:cNvPr>
          <p:cNvSpPr/>
          <p:nvPr userDrawn="1"/>
        </p:nvSpPr>
        <p:spPr>
          <a:xfrm>
            <a:off x="2" y="1"/>
            <a:ext cx="12191999" cy="6857999"/>
          </a:xfrm>
          <a:prstGeom prst="rect">
            <a:avLst/>
          </a:prstGeom>
          <a:gradFill>
            <a:gsLst>
              <a:gs pos="0">
                <a:srgbClr val="6E00FF"/>
              </a:gs>
              <a:gs pos="100000">
                <a:srgbClr val="00FFDC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C2F201-3E04-6F4A-A8AC-904D53590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6" y="3076323"/>
            <a:ext cx="10948493" cy="70535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6140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951273404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A4CCD1-E8E9-40FD-A2A5-870B29505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766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3" imgH="503" progId="TCLayout.ActiveDocument.1">
                  <p:embed/>
                </p:oleObj>
              </mc:Choice>
              <mc:Fallback>
                <p:oleObj name="think-cell Folie" r:id="rId3" imgW="503" imgH="50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A4CCD1-E8E9-40FD-A2A5-870B29505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Gras, Person, Spieler, draußen enthält.&#10;&#10;Automatisch generierte Beschreibung">
            <a:extLst>
              <a:ext uri="{FF2B5EF4-FFF2-40B4-BE49-F238E27FC236}">
                <a16:creationId xmlns:a16="http://schemas.microsoft.com/office/drawing/2014/main" id="{72A8C953-2282-4A62-9EF4-591BFF9F83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16"/>
            <a:ext cx="12190194" cy="68590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754" y="4830533"/>
            <a:ext cx="10948492" cy="706140"/>
          </a:xfrm>
        </p:spPr>
        <p:txBody>
          <a:bodyPr vert="horz" anchor="b" anchorCtr="1">
            <a:noAutofit/>
          </a:bodyPr>
          <a:lstStyle>
            <a:lvl1pPr algn="ctr">
              <a:defRPr sz="2916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755" y="5552549"/>
            <a:ext cx="10948492" cy="702834"/>
          </a:xfrm>
          <a:noFill/>
        </p:spPr>
        <p:txBody>
          <a:bodyPr anchor="t" anchorCtr="1">
            <a:noAutofit/>
          </a:bodyPr>
          <a:lstStyle>
            <a:lvl1pPr marL="0" indent="0" algn="ctr">
              <a:buNone/>
              <a:defRPr sz="2083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  <a:lvl2pPr marL="609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Picture 7" descr="Sky Logo">
            <a:extLst>
              <a:ext uri="{FF2B5EF4-FFF2-40B4-BE49-F238E27FC236}">
                <a16:creationId xmlns:a16="http://schemas.microsoft.com/office/drawing/2014/main" id="{1B0ACC0B-ACA5-8645-804C-356A9393B9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232" y="1201750"/>
            <a:ext cx="6009537" cy="36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2729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876" y="6344846"/>
            <a:ext cx="646249" cy="273340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55" y="1684484"/>
            <a:ext cx="10948492" cy="422361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75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67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58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5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1755" y="5991657"/>
            <a:ext cx="4872592" cy="347282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389314" y="3389314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DFB65D-4EFA-3243-A06D-241117D58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5" y="608571"/>
            <a:ext cx="10948492" cy="1060039"/>
          </a:xfrm>
        </p:spPr>
        <p:txBody>
          <a:bodyPr/>
          <a:lstStyle>
            <a:lvl1pPr>
              <a:lnSpc>
                <a:spcPts val="3125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pic>
        <p:nvPicPr>
          <p:cNvPr id="10" name="Picture 9" descr="Sky Logo">
            <a:extLst>
              <a:ext uri="{FF2B5EF4-FFF2-40B4-BE49-F238E27FC236}">
                <a16:creationId xmlns:a16="http://schemas.microsoft.com/office/drawing/2014/main" id="{52EA1D35-F1A5-9549-9CCA-8F7CEE09B2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964" y="6007077"/>
            <a:ext cx="793282" cy="48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5477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00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17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tags" Target="../tags/tag33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1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image" Target="../media/image4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6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6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1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70.xml"/><Relationship Id="rId9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heme" Target="../theme/theme8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77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7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oleObject" Target="../embeddings/oleObject9.bin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353FF7-96E1-4E6A-B56E-9321D7910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63835202"/>
              </p:ext>
            </p:extLst>
          </p:nvPr>
        </p:nvGraphicFramePr>
        <p:xfrm>
          <a:off x="1654" y="1654"/>
          <a:ext cx="1654" cy="1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06" imgH="306" progId="TCLayout.ActiveDocument.1">
                  <p:embed/>
                </p:oleObj>
              </mc:Choice>
              <mc:Fallback>
                <p:oleObj name="think-cell Folie" r:id="rId20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353FF7-96E1-4E6A-B56E-9321D7910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54" y="1654"/>
                        <a:ext cx="1654" cy="1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7746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>
    <p:fade/>
  </p:transition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A64494-6A92-42A7-9575-E8ADCA910D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05563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03" imgH="503" progId="TCLayout.ActiveDocument.1">
                  <p:embed/>
                </p:oleObj>
              </mc:Choice>
              <mc:Fallback>
                <p:oleObj name="think-cell Folie" r:id="rId20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A64494-6A92-42A7-9575-E8ADCA910D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07558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</p:sldLayoutIdLst>
  <p:transition>
    <p:fade/>
  </p:transition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A739E7-95F8-40CA-AE77-052D0183B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654" y="1654"/>
          <a:ext cx="1654" cy="1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5" imgH="396" progId="TCLayout.ActiveDocument.1">
                  <p:embed/>
                </p:oleObj>
              </mc:Choice>
              <mc:Fallback>
                <p:oleObj name="think-cell Foli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A739E7-95F8-40CA-AE77-052D0183B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54" y="1654"/>
                        <a:ext cx="1654" cy="1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8BA51DD-085D-B24D-BB52-E8D672F7941E}"/>
              </a:ext>
            </a:extLst>
          </p:cNvPr>
          <p:cNvSpPr txBox="1">
            <a:spLocks/>
          </p:cNvSpPr>
          <p:nvPr userDrawn="1"/>
        </p:nvSpPr>
        <p:spPr>
          <a:xfrm>
            <a:off x="10117133" y="208025"/>
            <a:ext cx="1859959" cy="265008"/>
          </a:xfrm>
          <a:prstGeom prst="rect">
            <a:avLst/>
          </a:prstGeom>
        </p:spPr>
        <p:txBody>
          <a:bodyPr anchor="b"/>
          <a:lstStyle>
            <a:lvl1pPr marL="0" indent="0" algn="l" defTabSz="1170432" rtl="0" eaLnBrk="1" latinLnBrk="0" hangingPunct="1">
              <a:spcBef>
                <a:spcPts val="768"/>
              </a:spcBef>
              <a:buClr>
                <a:srgbClr val="0644A1"/>
              </a:buClr>
              <a:buFont typeface="Arial" pitchFamily="34" charset="0"/>
              <a:buNone/>
              <a:defRPr sz="9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68000" indent="-216000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Arial" pitchFamily="34" charset="0"/>
              <a:buChar char="–"/>
              <a:tabLst/>
              <a:defRPr sz="16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2pPr>
            <a:lvl3pPr marL="640800" indent="-172800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Lucida Grande"/>
              <a:buChar char="­"/>
              <a:tabLst/>
              <a:defRPr sz="14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3pPr>
            <a:lvl4pPr marL="835200" indent="-179388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Arial" pitchFamily="34" charset="0"/>
              <a:buChar char="–"/>
              <a:tabLst/>
              <a:defRPr sz="12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4pPr>
            <a:lvl5pPr marL="2633472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218688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904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9120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336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2" b="1" baseline="0" dirty="0"/>
              <a:t>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283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</p:sldLayoutIdLst>
  <p:transition>
    <p:fade/>
  </p:transition>
  <p:hf sldNum="0" hdr="0" dt="0"/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0185D76-C260-43CD-8E6A-1BE59E489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11655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03" imgH="503" progId="TCLayout.ActiveDocument.1">
                  <p:embed/>
                </p:oleObj>
              </mc:Choice>
              <mc:Fallback>
                <p:oleObj name="think-cell Folie" r:id="rId20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0185D76-C260-43CD-8E6A-1BE59E489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929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transition>
    <p:fade/>
  </p:transition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03E00F-E423-44BD-8098-48352B4CE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361643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503" imgH="503" progId="TCLayout.ActiveDocument.1">
                  <p:embed/>
                </p:oleObj>
              </mc:Choice>
              <mc:Fallback>
                <p:oleObj name="think-cell Folie" r:id="rId31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03E00F-E423-44BD-8098-48352B4CE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38542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</p:sldLayoutIdLst>
  <p:transition>
    <p:fade/>
  </p:transition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A739E7-95F8-40CA-AE77-052D0183B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654" y="1654"/>
          <a:ext cx="1654" cy="1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5" imgH="396" progId="TCLayout.ActiveDocument.1">
                  <p:embed/>
                </p:oleObj>
              </mc:Choice>
              <mc:Fallback>
                <p:oleObj name="think-cell Foli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A739E7-95F8-40CA-AE77-052D0183B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54" y="1654"/>
                        <a:ext cx="1654" cy="1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2351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</p:sldLayoutIdLst>
  <p:transition>
    <p:fade/>
  </p:transition>
  <p:hf sldNum="0" hdr="0" dt="0"/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D95B7CC-F8BF-42CA-AB64-069D90695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2055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03" imgH="503" progId="TCLayout.ActiveDocument.1">
                  <p:embed/>
                </p:oleObj>
              </mc:Choice>
              <mc:Fallback>
                <p:oleObj name="think-cell Folie" r:id="rId9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D95B7CC-F8BF-42CA-AB64-069D90695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8861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7" r:id="rId5"/>
    <p:sldLayoutId id="2147483738" r:id="rId6"/>
  </p:sldLayoutIdLst>
  <p:transition>
    <p:fade/>
  </p:transition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A739E7-95F8-40CA-AE77-052D0183B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05478037"/>
              </p:ext>
            </p:extLst>
          </p:nvPr>
        </p:nvGraphicFramePr>
        <p:xfrm>
          <a:off x="1654" y="1654"/>
          <a:ext cx="1654" cy="1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A739E7-95F8-40CA-AE77-052D0183B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54" y="1654"/>
                        <a:ext cx="1654" cy="1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8BA51DD-085D-B24D-BB52-E8D672F7941E}"/>
              </a:ext>
            </a:extLst>
          </p:cNvPr>
          <p:cNvSpPr txBox="1">
            <a:spLocks/>
          </p:cNvSpPr>
          <p:nvPr userDrawn="1"/>
        </p:nvSpPr>
        <p:spPr>
          <a:xfrm>
            <a:off x="10117133" y="208025"/>
            <a:ext cx="1859959" cy="265008"/>
          </a:xfrm>
          <a:prstGeom prst="rect">
            <a:avLst/>
          </a:prstGeom>
        </p:spPr>
        <p:txBody>
          <a:bodyPr anchor="b"/>
          <a:lstStyle>
            <a:lvl1pPr marL="0" indent="0" algn="l" defTabSz="1170432" rtl="0" eaLnBrk="1" latinLnBrk="0" hangingPunct="1">
              <a:spcBef>
                <a:spcPts val="768"/>
              </a:spcBef>
              <a:buClr>
                <a:srgbClr val="0644A1"/>
              </a:buClr>
              <a:buFont typeface="Arial" pitchFamily="34" charset="0"/>
              <a:buNone/>
              <a:defRPr sz="9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68000" indent="-216000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Arial" pitchFamily="34" charset="0"/>
              <a:buChar char="–"/>
              <a:tabLst/>
              <a:defRPr sz="16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2pPr>
            <a:lvl3pPr marL="640800" indent="-172800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Lucida Grande"/>
              <a:buChar char="­"/>
              <a:tabLst/>
              <a:defRPr sz="14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3pPr>
            <a:lvl4pPr marL="835200" indent="-179388" algn="l" defTabSz="1170432" rtl="0" eaLnBrk="1" latinLnBrk="0" hangingPunct="1">
              <a:spcBef>
                <a:spcPts val="600"/>
              </a:spcBef>
              <a:buClr>
                <a:srgbClr val="0644A1"/>
              </a:buClr>
              <a:buFont typeface="Arial" pitchFamily="34" charset="0"/>
              <a:buChar char="–"/>
              <a:tabLst/>
              <a:defRPr sz="12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4pPr>
            <a:lvl5pPr marL="2633472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218688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904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9120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336" indent="-292608" algn="l" defTabSz="117043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42" b="1" baseline="0" dirty="0"/>
              <a:t>Privileged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6718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2" r:id="rId2"/>
    <p:sldLayoutId id="2147483743" r:id="rId3"/>
  </p:sldLayoutIdLst>
  <p:transition>
    <p:fade/>
  </p:transition>
  <p:hf sldNum="0" hdr="0" dt="0"/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B224FA1D-2985-488A-B1D4-67E3172581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1" imgH="423" progId="TCLayout.ActiveDocument.1">
                  <p:embed/>
                </p:oleObj>
              </mc:Choice>
              <mc:Fallback>
                <p:oleObj name="think-cell Folie" r:id="rId4" imgW="421" imgH="423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B224FA1D-2985-488A-B1D4-67E3172581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5" y="1684486"/>
            <a:ext cx="10948493" cy="4223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936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</p:sldLayoutIdLst>
  <p:transition>
    <p:fade/>
  </p:transition>
  <p:txStyles>
    <p:titleStyle>
      <a:lvl1pPr marL="0" algn="l" defTabSz="1219043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6" kern="1200" dirty="0"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69" indent="-239169" algn="l" defTabSz="1219122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69" indent="-224986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57" indent="-179988" algn="l" defTabSz="1219122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944" indent="-186851" algn="l" defTabSz="1219122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3024" indent="-304780" algn="l" defTabSz="1219122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585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146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707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268" indent="-304780" algn="l" defTabSz="1219122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61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122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83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244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805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6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927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488" algn="l" defTabSz="1219122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413" imgH="416" progId="TCLayout.ActiveDocument.1">
                  <p:embed/>
                </p:oleObj>
              </mc:Choice>
              <mc:Fallback>
                <p:oleObj name="think-cell Folie" r:id="rId2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920" b="0" i="0" baseline="0" dirty="0">
              <a:solidFill>
                <a:schemeClr val="bg1"/>
              </a:solidFill>
              <a:latin typeface="Sky Text Medium" panose="020B0506040202020204" pitchFamily="34" charset="0"/>
              <a:ea typeface="+mj-ea"/>
              <a:cs typeface="+mj-cs"/>
              <a:sym typeface="Sky Text Medium" panose="020B050604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60947"/>
            <a:ext cx="11082528" cy="4493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54158"/>
            <a:ext cx="33983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dirty="0"/>
              <a:t>Above Chart Exhibit Title</a:t>
            </a:r>
          </a:p>
          <a:p>
            <a:pPr lvl="0" rtl="0"/>
            <a:r>
              <a:rPr lang="en-GB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3979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42043054-6837-474C-B922-E8A079C0E4DC}"/>
              </a:ext>
            </a:extLst>
          </p:cNvPr>
          <p:cNvGrpSpPr/>
          <p:nvPr userDrawn="1"/>
        </p:nvGrpSpPr>
        <p:grpSpPr>
          <a:xfrm>
            <a:off x="10317304" y="3150223"/>
            <a:ext cx="1278282" cy="958286"/>
            <a:chOff x="10162879" y="3243772"/>
            <a:chExt cx="1278282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1E5E9517-96D6-404E-9679-2F175DFE5649}"/>
                </a:ext>
              </a:extLst>
            </p:cNvPr>
            <p:cNvSpPr txBox="1"/>
            <p:nvPr/>
          </p:nvSpPr>
          <p:spPr>
            <a:xfrm>
              <a:off x="10886522" y="3243772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6E456960-57CC-455D-9224-679A0CF41051}"/>
                </a:ext>
              </a:extLst>
            </p:cNvPr>
            <p:cNvSpPr txBox="1"/>
            <p:nvPr/>
          </p:nvSpPr>
          <p:spPr>
            <a:xfrm>
              <a:off x="10886522" y="3615193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1FFC58B-D7AD-4713-9359-2A2BA59E6A85}"/>
                </a:ext>
              </a:extLst>
            </p:cNvPr>
            <p:cNvSpPr txBox="1"/>
            <p:nvPr/>
          </p:nvSpPr>
          <p:spPr>
            <a:xfrm>
              <a:off x="10886522" y="3986614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8FDA4FE8-D905-4403-B784-CECBEAB0B2F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GB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D1D07626-E519-4C61-A5F6-ACD190585DB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GB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4E4BEC1F-5B7B-4B53-B6ED-A6F100E8883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GB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38C153A-0DBA-4972-9985-1044EA54B75B}"/>
              </a:ext>
            </a:extLst>
          </p:cNvPr>
          <p:cNvGrpSpPr/>
          <p:nvPr userDrawn="1"/>
        </p:nvGrpSpPr>
        <p:grpSpPr>
          <a:xfrm>
            <a:off x="10688315" y="1145373"/>
            <a:ext cx="907271" cy="1731859"/>
            <a:chOff x="7723680" y="1702457"/>
            <a:chExt cx="907271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318604B9-2A2B-4579-8B36-B0C39AD46EE8}"/>
                </a:ext>
              </a:extLst>
            </p:cNvPr>
            <p:cNvSpPr txBox="1"/>
            <p:nvPr/>
          </p:nvSpPr>
          <p:spPr>
            <a:xfrm>
              <a:off x="8076312" y="1709816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F8446388-0DA8-4AC4-80D4-3347463D02E0}"/>
                </a:ext>
              </a:extLst>
            </p:cNvPr>
            <p:cNvSpPr txBox="1"/>
            <p:nvPr/>
          </p:nvSpPr>
          <p:spPr>
            <a:xfrm>
              <a:off x="8076312" y="2085275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91F5C1C8-228F-424F-80E7-5B4C5FFF9BFB}"/>
                </a:ext>
              </a:extLst>
            </p:cNvPr>
            <p:cNvSpPr txBox="1"/>
            <p:nvPr/>
          </p:nvSpPr>
          <p:spPr>
            <a:xfrm>
              <a:off x="8076312" y="2460734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6319044E-C5BB-4CBE-BD1D-156926858188}"/>
                </a:ext>
              </a:extLst>
            </p:cNvPr>
            <p:cNvSpPr txBox="1"/>
            <p:nvPr/>
          </p:nvSpPr>
          <p:spPr>
            <a:xfrm>
              <a:off x="8076312" y="2836193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42C68C8-8500-44B5-96FF-BB7B48364D18}"/>
                </a:ext>
              </a:extLst>
            </p:cNvPr>
            <p:cNvSpPr txBox="1"/>
            <p:nvPr/>
          </p:nvSpPr>
          <p:spPr>
            <a:xfrm>
              <a:off x="8076312" y="3211654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49B27C8C-9351-4E4B-9F53-95E782C34CCA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87F0D2FB-68FD-444C-9562-06B13C7D08D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0E6D7C6-FD45-4F5B-B593-9868BE73FB5D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FD921D43-A9D0-4E1D-B9B0-7D8667198C1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02C0221A-EB05-47EA-A586-8B2D693CC41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8A0539B9-6F1C-4A73-B7F1-0476AC45BB7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2ECF3941-AA71-4D64-A1F9-8AC15456C98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643C690-E764-47E0-87E2-6EEE06CD8EA2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73A0C2F-7DC8-4310-8621-5F400E66A75C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F4848A94-9C4F-4452-A499-EC26CE9EC23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DB51E957-158E-48B8-A60D-05A1010A42D0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6D5F5619-EB70-4D3C-82E0-D70CD926E1AE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C5543BDB-4334-4D1E-BEFB-E46126D17D8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024366C8-6671-4039-B2E0-2BD50B6D7065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343A961-197C-40C1-BEF5-CD6499C21750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GB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F786AA3-2FB1-43E5-8E16-B20F1EAA8ED4}"/>
              </a:ext>
            </a:extLst>
          </p:cNvPr>
          <p:cNvGrpSpPr/>
          <p:nvPr userDrawn="1"/>
        </p:nvGrpSpPr>
        <p:grpSpPr>
          <a:xfrm>
            <a:off x="10714801" y="4381500"/>
            <a:ext cx="880785" cy="1717282"/>
            <a:chOff x="10652400" y="4322824"/>
            <a:chExt cx="880785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6DB2D061-9132-485A-87BE-265F738A8AD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F2B181D-53FC-40CB-AF64-4035557916C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3C420A58-74FF-4E3C-9984-738A17DEF0F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55E1205F-4A70-4F8B-9CA7-F2DCB0AC4A8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9640F058-E16E-4424-838F-A3BC48CD696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80940BA0-9BA0-4A97-9560-0C0CBFB66FEB}"/>
                </a:ext>
              </a:extLst>
            </p:cNvPr>
            <p:cNvSpPr txBox="1"/>
            <p:nvPr/>
          </p:nvSpPr>
          <p:spPr>
            <a:xfrm>
              <a:off x="10978546" y="4322824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684906D4-A394-4611-A62A-8E208EDBF353}"/>
                </a:ext>
              </a:extLst>
            </p:cNvPr>
            <p:cNvSpPr txBox="1"/>
            <p:nvPr/>
          </p:nvSpPr>
          <p:spPr>
            <a:xfrm>
              <a:off x="10978546" y="4702322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20B535C-5211-45F8-AD65-5AA7427D1492}"/>
                </a:ext>
              </a:extLst>
            </p:cNvPr>
            <p:cNvSpPr txBox="1"/>
            <p:nvPr/>
          </p:nvSpPr>
          <p:spPr>
            <a:xfrm>
              <a:off x="10978546" y="5081820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86063761-28A6-4431-B27B-3CDCB65D2705}"/>
                </a:ext>
              </a:extLst>
            </p:cNvPr>
            <p:cNvSpPr txBox="1"/>
            <p:nvPr/>
          </p:nvSpPr>
          <p:spPr>
            <a:xfrm>
              <a:off x="10978546" y="5453241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DC8276C4-8E09-456D-BA97-E1DFB95FAA8C}"/>
                </a:ext>
              </a:extLst>
            </p:cNvPr>
            <p:cNvSpPr txBox="1"/>
            <p:nvPr/>
          </p:nvSpPr>
          <p:spPr>
            <a:xfrm>
              <a:off x="10978545" y="5824662"/>
              <a:ext cx="55463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45AE7AA4-E0B2-4BC7-9AA8-B9BEE05A6903}"/>
              </a:ext>
            </a:extLst>
          </p:cNvPr>
          <p:cNvSpPr/>
          <p:nvPr userDrawn="1"/>
        </p:nvSpPr>
        <p:spPr bwMode="ltGray">
          <a:xfrm rot="5400000">
            <a:off x="-3390900" y="3390902"/>
            <a:ext cx="6858000" cy="76200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6290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920" b="0" kern="1200" spc="0" baseline="0" dirty="0">
          <a:ln w="6350" cap="flat">
            <a:noFill/>
            <a:miter lim="800000"/>
          </a:ln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Sky Text Medium" panose="020B050604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644A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644A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644A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644A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FD17A2-AFFE-49B8-8BB4-252015989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2986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503" imgH="503" progId="TCLayout.ActiveDocument.1">
                  <p:embed/>
                </p:oleObj>
              </mc:Choice>
              <mc:Fallback>
                <p:oleObj name="think-cell Folie" r:id="rId23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FD17A2-AFFE-49B8-8BB4-252015989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56" y="608572"/>
            <a:ext cx="10948493" cy="1060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56" y="1684486"/>
            <a:ext cx="10948493" cy="4223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4360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</p:sldLayoutIdLst>
  <p:transition>
    <p:fade/>
  </p:transition>
  <p:hf sldNum="0" hdr="0" ftr="0" dt="0"/>
  <p:txStyles>
    <p:titleStyle>
      <a:lvl1pPr marL="0" algn="l" defTabSz="1218965" rtl="0" eaLnBrk="1" latinLnBrk="0" hangingPunct="1">
        <a:lnSpc>
          <a:spcPct val="80000"/>
        </a:lnSpc>
        <a:spcBef>
          <a:spcPts val="800"/>
        </a:spcBef>
        <a:spcAft>
          <a:spcPts val="0"/>
        </a:spcAft>
        <a:buNone/>
        <a:defRPr lang="en-GB" sz="2915" kern="1200" dirty="0">
          <a:gradFill flip="none" rotWithShape="1">
            <a:gsLst>
              <a:gs pos="0">
                <a:srgbClr val="F08300"/>
              </a:gs>
              <a:gs pos="100000">
                <a:srgbClr val="0644A1"/>
              </a:gs>
              <a:gs pos="35000">
                <a:srgbClr val="E30010"/>
              </a:gs>
              <a:gs pos="80000">
                <a:srgbClr val="A72879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39153" indent="-239153" algn="l" defTabSz="1219044" rtl="0" eaLnBrk="1" latinLnBrk="0" hangingPunct="1">
        <a:spcBef>
          <a:spcPts val="800"/>
        </a:spcBef>
        <a:buClr>
          <a:srgbClr val="0644A1"/>
        </a:buClr>
        <a:buFont typeface="Arial" pitchFamily="34" charset="0"/>
        <a:buChar char="•"/>
        <a:defRPr sz="1875" kern="1200">
          <a:solidFill>
            <a:srgbClr val="323232"/>
          </a:solidFill>
          <a:latin typeface="+mn-lt"/>
          <a:ea typeface="+mn-ea"/>
          <a:cs typeface="+mn-cs"/>
        </a:defRPr>
      </a:lvl1pPr>
      <a:lvl2pPr marL="487438" indent="-224972" algn="l" defTabSz="1219044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667" kern="1200">
          <a:solidFill>
            <a:srgbClr val="323232"/>
          </a:solidFill>
          <a:latin typeface="+mn-lt"/>
          <a:ea typeface="+mn-ea"/>
          <a:cs typeface="+mn-cs"/>
        </a:defRPr>
      </a:lvl2pPr>
      <a:lvl3pPr marL="667415" indent="-179976" algn="l" defTabSz="1219044" rtl="0" eaLnBrk="1" latinLnBrk="0" hangingPunct="1">
        <a:spcBef>
          <a:spcPts val="625"/>
        </a:spcBef>
        <a:buClr>
          <a:srgbClr val="0644A1"/>
        </a:buClr>
        <a:buFont typeface="Lucida Grande"/>
        <a:buChar char="­"/>
        <a:tabLst/>
        <a:defRPr sz="1458" kern="1200">
          <a:solidFill>
            <a:srgbClr val="323232"/>
          </a:solidFill>
          <a:latin typeface="+mn-lt"/>
          <a:ea typeface="+mn-ea"/>
          <a:cs typeface="+mn-cs"/>
        </a:defRPr>
      </a:lvl3pPr>
      <a:lvl4pPr marL="869888" indent="-186839" algn="l" defTabSz="1219044" rtl="0" eaLnBrk="1" latinLnBrk="0" hangingPunct="1">
        <a:spcBef>
          <a:spcPts val="625"/>
        </a:spcBef>
        <a:buClr>
          <a:srgbClr val="0644A1"/>
        </a:buClr>
        <a:buFont typeface="Arial" pitchFamily="34" charset="0"/>
        <a:buChar char="–"/>
        <a:tabLst/>
        <a:defRPr sz="1250" kern="1200">
          <a:solidFill>
            <a:srgbClr val="323232"/>
          </a:solidFill>
          <a:latin typeface="+mn-lt"/>
          <a:ea typeface="+mn-ea"/>
          <a:cs typeface="+mn-cs"/>
        </a:defRPr>
      </a:lvl4pPr>
      <a:lvl5pPr marL="2742848" indent="-304761" algn="l" defTabSz="1219044" rtl="0" eaLnBrk="1" latinLnBrk="0" hangingPunct="1">
        <a:spcBef>
          <a:spcPct val="20000"/>
        </a:spcBef>
        <a:buFont typeface="Arial" pitchFamily="34" charset="0"/>
        <a:buChar char="»"/>
        <a:defRPr sz="2083" kern="1200">
          <a:solidFill>
            <a:schemeClr val="tx1"/>
          </a:solidFill>
          <a:latin typeface="+mj-lt"/>
          <a:ea typeface="+mn-ea"/>
          <a:cs typeface="+mn-cs"/>
        </a:defRPr>
      </a:lvl5pPr>
      <a:lvl6pPr marL="3352371" indent="-304761" algn="l" defTabSz="1219044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1892" indent="-304761" algn="l" defTabSz="1219044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415" indent="-304761" algn="l" defTabSz="1219044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0936" indent="-304761" algn="l" defTabSz="1219044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22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4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566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088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0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132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654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175" algn="l" defTabSz="1219044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A2400-2177-AF89-E3C2-4C332996C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8912" y="2830173"/>
            <a:ext cx="11089711" cy="721256"/>
          </a:xfrm>
        </p:spPr>
        <p:txBody>
          <a:bodyPr/>
          <a:lstStyle/>
          <a:p>
            <a:r>
              <a:rPr lang="en-US" dirty="0"/>
              <a:t>Gen AI </a:t>
            </a:r>
            <a:r>
              <a:rPr lang="en-US" dirty="0" err="1"/>
              <a:t>Moodslider</a:t>
            </a:r>
            <a:r>
              <a:rPr lang="en-US" dirty="0"/>
              <a:t> 2.0</a:t>
            </a:r>
          </a:p>
        </p:txBody>
      </p:sp>
    </p:spTree>
    <p:extLst>
      <p:ext uri="{BB962C8B-B14F-4D97-AF65-F5344CB8AC3E}">
        <p14:creationId xmlns:p14="http://schemas.microsoft.com/office/powerpoint/2010/main" val="171547642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EEA30-AACE-90D2-E0EE-9D6E0EDED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odslider</a:t>
            </a:r>
            <a:r>
              <a:rPr lang="en-US" dirty="0"/>
              <a:t> tas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EAA549-C7E8-DD60-E1B2-74096C523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535" y="1273788"/>
            <a:ext cx="8005763" cy="552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2914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7F1E432C-501C-3DAF-EB5F-4751589FB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010" y="1668610"/>
            <a:ext cx="6408708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2819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D6618222-FAD3-AF38-B759-77CEA6D763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752" y="1138590"/>
            <a:ext cx="8258175" cy="563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0059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Table 90">
            <a:extLst>
              <a:ext uri="{FF2B5EF4-FFF2-40B4-BE49-F238E27FC236}">
                <a16:creationId xmlns:a16="http://schemas.microsoft.com/office/drawing/2014/main" id="{62B0EDB3-B1CA-5104-103E-DA5782D65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923874"/>
              </p:ext>
            </p:extLst>
          </p:nvPr>
        </p:nvGraphicFramePr>
        <p:xfrm>
          <a:off x="537006" y="476320"/>
          <a:ext cx="11363992" cy="6171772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3619358">
                  <a:extLst>
                    <a:ext uri="{9D8B030D-6E8A-4147-A177-3AD203B41FA5}">
                      <a16:colId xmlns:a16="http://schemas.microsoft.com/office/drawing/2014/main" val="4225692313"/>
                    </a:ext>
                  </a:extLst>
                </a:gridCol>
                <a:gridCol w="4037610">
                  <a:extLst>
                    <a:ext uri="{9D8B030D-6E8A-4147-A177-3AD203B41FA5}">
                      <a16:colId xmlns:a16="http://schemas.microsoft.com/office/drawing/2014/main" val="169153708"/>
                    </a:ext>
                  </a:extLst>
                </a:gridCol>
                <a:gridCol w="3707024">
                  <a:extLst>
                    <a:ext uri="{9D8B030D-6E8A-4147-A177-3AD203B41FA5}">
                      <a16:colId xmlns:a16="http://schemas.microsoft.com/office/drawing/2014/main" val="1689322405"/>
                    </a:ext>
                  </a:extLst>
                </a:gridCol>
              </a:tblGrid>
              <a:tr h="13300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Sky Text Medium"/>
                          <a:ea typeface="+mn-ea"/>
                          <a:cs typeface="Sky Text Medium" panose="020B0506040202020204" pitchFamily="34" charset="0"/>
                        </a:rPr>
                        <a:t>Generative AI</a:t>
                      </a:r>
                      <a:endParaRPr lang="en-US" sz="1500" b="0" i="0" kern="1200" dirty="0">
                        <a:solidFill>
                          <a:schemeClr val="bg1"/>
                        </a:solidFill>
                        <a:latin typeface="Sky Text Medium"/>
                        <a:ea typeface="+mn-ea"/>
                        <a:cs typeface="Sky Text Medium" panose="020B0506040202020204" pitchFamily="34" charset="0"/>
                      </a:endParaRPr>
                    </a:p>
                  </a:txBody>
                  <a:tcPr marL="86865" marR="86865" marT="43433" marB="43433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FF9E00"/>
                        </a:gs>
                        <a:gs pos="100000">
                          <a:srgbClr val="FF0000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Sky Text Medium"/>
                          <a:ea typeface="+mn-ea"/>
                          <a:cs typeface="Sky Text Medium" panose="020B0506040202020204" pitchFamily="34" charset="0"/>
                        </a:rPr>
                        <a:t>Framework </a:t>
                      </a:r>
                    </a:p>
                  </a:txBody>
                  <a:tcPr marL="79123" marR="79123" marT="39562" marB="39562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0644A1"/>
                        </a:gs>
                        <a:gs pos="0">
                          <a:srgbClr val="FF0000"/>
                        </a:gs>
                        <a:gs pos="49000">
                          <a:srgbClr val="A72879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Sky Text Medium"/>
                          <a:ea typeface="+mn-ea"/>
                          <a:cs typeface="Sky Text Medium" panose="020B0506040202020204" pitchFamily="34" charset="0"/>
                        </a:rPr>
                        <a:t>Playout and Data</a:t>
                      </a:r>
                    </a:p>
                  </a:txBody>
                  <a:tcPr marL="79123" marR="79123" marT="39562" marB="39562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4000">
                          <a:srgbClr val="0644A1"/>
                        </a:gs>
                        <a:gs pos="100000">
                          <a:srgbClr val="0071FF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67679355"/>
                  </a:ext>
                </a:extLst>
              </a:tr>
              <a:tr h="4715276"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ing Teachable machine to recognise facial expressions (sad, happy, angry face etc.) and body language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slider should move based on the facial recognition as per below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en the slider moves, images of movies recommended for the mood should display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user should be able to click the play button and watch the recommended movies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865" marR="86865" marT="43433" marB="43433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Build a frame as below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hen the slider is moved, it should display movies recommended based on the mood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hen the play button is clicked, the movie should play</a:t>
                      </a:r>
                    </a:p>
                  </a:txBody>
                  <a:tcPr marL="86865" marR="86865" marT="43433" marB="43433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22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36550" marR="0" lvl="0" indent="-336550" algn="l" defTabSz="1219122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a database of movie content/playout database</a:t>
                      </a:r>
                    </a:p>
                    <a:p>
                      <a:pPr marL="336550" marR="0" lvl="0" indent="-336550" algn="l" defTabSz="1219122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2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36550" marR="0" lvl="0" indent="-336550" algn="l" defTabSz="1219122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a data table that displays the movie names and the numbers of hits for each movie</a:t>
                      </a:r>
                    </a:p>
                  </a:txBody>
                  <a:tcPr marL="86865" marR="86865" marT="43433" marB="43433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730785"/>
                  </a:ext>
                </a:extLst>
              </a:tr>
            </a:tbl>
          </a:graphicData>
        </a:graphic>
      </p:graphicFrame>
      <p:sp>
        <p:nvSpPr>
          <p:cNvPr id="4" name="Rectangle: Rounded Corners 83">
            <a:extLst>
              <a:ext uri="{FF2B5EF4-FFF2-40B4-BE49-F238E27FC236}">
                <a16:creationId xmlns:a16="http://schemas.microsoft.com/office/drawing/2014/main" id="{BBBD0D60-9688-B05B-31AB-D8EA6A159B25}"/>
              </a:ext>
            </a:extLst>
          </p:cNvPr>
          <p:cNvSpPr/>
          <p:nvPr/>
        </p:nvSpPr>
        <p:spPr>
          <a:xfrm>
            <a:off x="537006" y="6512780"/>
            <a:ext cx="3607482" cy="343929"/>
          </a:xfrm>
          <a:prstGeom prst="roundRect">
            <a:avLst/>
          </a:prstGeom>
          <a:gradFill>
            <a:gsLst>
              <a:gs pos="0">
                <a:srgbClr val="FF9E00"/>
              </a:gs>
              <a:gs pos="100000">
                <a:srgbClr val="0668EB"/>
              </a:gs>
              <a:gs pos="35000">
                <a:srgbClr val="FF0000"/>
              </a:gs>
              <a:gs pos="60000">
                <a:srgbClr val="9D3799"/>
              </a:gs>
              <a:gs pos="85000">
                <a:srgbClr val="21429C"/>
              </a:gs>
            </a:gsLst>
            <a:lin ang="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247" tIns="47624" rIns="95247" bIns="47624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00045"/>
            <a:endParaRPr lang="en-US" b="1" dirty="0"/>
          </a:p>
        </p:txBody>
      </p:sp>
      <p:sp>
        <p:nvSpPr>
          <p:cNvPr id="5" name="Rectangle: Rounded Corners 83">
            <a:extLst>
              <a:ext uri="{FF2B5EF4-FFF2-40B4-BE49-F238E27FC236}">
                <a16:creationId xmlns:a16="http://schemas.microsoft.com/office/drawing/2014/main" id="{B1558032-FFDA-CBF1-B041-6B9B945F28B2}"/>
              </a:ext>
            </a:extLst>
          </p:cNvPr>
          <p:cNvSpPr/>
          <p:nvPr/>
        </p:nvSpPr>
        <p:spPr>
          <a:xfrm>
            <a:off x="4144488" y="6521622"/>
            <a:ext cx="4049486" cy="335088"/>
          </a:xfrm>
          <a:prstGeom prst="roundRect">
            <a:avLst/>
          </a:prstGeom>
          <a:gradFill>
            <a:gsLst>
              <a:gs pos="0">
                <a:srgbClr val="FF9E00"/>
              </a:gs>
              <a:gs pos="100000">
                <a:srgbClr val="0668EB"/>
              </a:gs>
              <a:gs pos="35000">
                <a:srgbClr val="FF0000"/>
              </a:gs>
              <a:gs pos="60000">
                <a:srgbClr val="9D3799"/>
              </a:gs>
              <a:gs pos="85000">
                <a:srgbClr val="21429C"/>
              </a:gs>
            </a:gsLst>
            <a:lin ang="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247" tIns="47624" rIns="95247" bIns="47624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00045"/>
            <a:endParaRPr lang="en-US" b="1" dirty="0"/>
          </a:p>
        </p:txBody>
      </p:sp>
      <p:sp>
        <p:nvSpPr>
          <p:cNvPr id="6" name="Rectangle: Rounded Corners 83">
            <a:extLst>
              <a:ext uri="{FF2B5EF4-FFF2-40B4-BE49-F238E27FC236}">
                <a16:creationId xmlns:a16="http://schemas.microsoft.com/office/drawing/2014/main" id="{FB963081-9DA3-B3BD-8EF3-7E910E0AA202}"/>
              </a:ext>
            </a:extLst>
          </p:cNvPr>
          <p:cNvSpPr/>
          <p:nvPr/>
        </p:nvSpPr>
        <p:spPr>
          <a:xfrm>
            <a:off x="8193974" y="6521622"/>
            <a:ext cx="3707024" cy="335088"/>
          </a:xfrm>
          <a:prstGeom prst="roundRect">
            <a:avLst/>
          </a:prstGeom>
          <a:gradFill>
            <a:gsLst>
              <a:gs pos="0">
                <a:srgbClr val="FF9E00"/>
              </a:gs>
              <a:gs pos="100000">
                <a:srgbClr val="0668EB"/>
              </a:gs>
              <a:gs pos="35000">
                <a:srgbClr val="FF0000"/>
              </a:gs>
              <a:gs pos="60000">
                <a:srgbClr val="9D3799"/>
              </a:gs>
              <a:gs pos="85000">
                <a:srgbClr val="21429C"/>
              </a:gs>
            </a:gsLst>
            <a:lin ang="0" scaled="0"/>
          </a:gra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247" tIns="47624" rIns="95247" bIns="47624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00045"/>
            <a:endParaRPr lang="en-US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E9A161-359E-547E-3568-41102D7CCA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006" y="2985653"/>
            <a:ext cx="3474162" cy="258609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A72553-9FD8-C1CA-2A57-15971A0EF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6550" y="2146300"/>
            <a:ext cx="38989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564667"/>
      </p:ext>
    </p:extLst>
  </p:cSld>
  <p:clrMapOvr>
    <a:masterClrMapping/>
  </p:clrMapOvr>
  <p:transition advClick="0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Template" id="{EF5E80A7-E0A0-4AC0-8F24-05E1254C525E}" vid="{AD97B92D-F238-48E0-BB4C-6300DD71F1FA}"/>
    </a:ext>
  </a:extLst>
</a:theme>
</file>

<file path=ppt/theme/theme10.xml><?xml version="1.0" encoding="utf-8"?>
<a:theme xmlns:a="http://schemas.openxmlformats.org/drawingml/2006/main" name="8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3-Glassmarks.potx" id="{7685200B-0FA0-7644-9425-8809951748B3}" vid="{F5E2E15A-E6DC-4847-8485-B02FE9616132}"/>
    </a:ext>
  </a:extLst>
</a:theme>
</file>

<file path=ppt/theme/theme11.xml><?xml version="1.0" encoding="utf-8"?>
<a:theme xmlns:a="http://schemas.openxmlformats.org/drawingml/2006/main" name="9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66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schemeClr val="accent1">
                  <a:shade val="50000"/>
                </a:schemeClr>
              </a:solidFill>
              <a:prstDash val="solid"/>
            </a14:hiddenLine>
          </a:ext>
        </a:extLst>
      </a:spPr>
      <a:bodyPr lIns="63500" tIns="91115" rIns="63500" bIns="63500" rtlCol="0" anchor="t">
        <a:spAutoFit/>
      </a:bodyPr>
      <a:lstStyle>
        <a:defPPr algn="l">
          <a:defRPr dirty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yber Plan 2.2" id="{823A70A8-61A9-0447-823B-83E8DEFED3EB}" vid="{338FEDB7-F752-6741-B155-5749D007CCAB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Template" id="{EF5E80A7-E0A0-4AC0-8F24-05E1254C525E}" vid="{AD97B92D-F238-48E0-BB4C-6300DD71F1FA}"/>
    </a:ext>
  </a:extLst>
</a:theme>
</file>

<file path=ppt/theme/theme3.xml><?xml version="1.0" encoding="utf-8"?>
<a:theme xmlns:a="http://schemas.openxmlformats.org/drawingml/2006/main" name="2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Company Template  -  Read-Only" id="{E43DB85A-AF95-42B4-B777-EE1CC9B56CD8}" vid="{811CAD74-CC08-4F24-848B-015C6402D1C1}"/>
    </a:ext>
  </a:extLst>
</a:theme>
</file>

<file path=ppt/theme/theme4.xml><?xml version="1.0" encoding="utf-8"?>
<a:theme xmlns:a="http://schemas.openxmlformats.org/drawingml/2006/main" name="3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66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schemeClr val="accent1">
                  <a:shade val="50000"/>
                </a:schemeClr>
              </a:solidFill>
              <a:prstDash val="solid"/>
            </a14:hiddenLine>
          </a:ext>
        </a:extLst>
      </a:spPr>
      <a:bodyPr lIns="63500" tIns="91115" rIns="63500" bIns="63500" rtlCol="0" anchor="t">
        <a:spAutoFit/>
      </a:bodyPr>
      <a:lstStyle>
        <a:defPPr algn="l">
          <a:defRPr dirty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yber Plan 2.2" id="{823A70A8-61A9-0447-823B-83E8DEFED3EB}" vid="{338FEDB7-F752-6741-B155-5749D007CCAB}"/>
    </a:ext>
  </a:extLst>
</a:theme>
</file>

<file path=ppt/theme/theme5.xml><?xml version="1.0" encoding="utf-8"?>
<a:theme xmlns:a="http://schemas.openxmlformats.org/drawingml/2006/main" name="4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0AA6BF4-625E-084C-9EA5-79051DF977B6}" vid="{C6A64281-D8ED-1645-9685-5032859C78B4}"/>
    </a:ext>
  </a:extLst>
</a:theme>
</file>

<file path=ppt/theme/theme6.xml><?xml version="1.0" encoding="utf-8"?>
<a:theme xmlns:a="http://schemas.openxmlformats.org/drawingml/2006/main" name="5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66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schemeClr val="accent1">
                  <a:shade val="50000"/>
                </a:schemeClr>
              </a:solidFill>
              <a:prstDash val="solid"/>
            </a14:hiddenLine>
          </a:ext>
        </a:extLst>
      </a:spPr>
      <a:bodyPr lIns="63500" tIns="91115" rIns="63500" bIns="63500" rtlCol="0" anchor="t">
        <a:spAutoFit/>
      </a:bodyPr>
      <a:lstStyle>
        <a:defPPr algn="l">
          <a:defRPr dirty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yber Plan 2.2" id="{823A70A8-61A9-0447-823B-83E8DEFED3EB}" vid="{338FEDB7-F752-6741-B155-5749D007CCAB}"/>
    </a:ext>
  </a:extLst>
</a:theme>
</file>

<file path=ppt/theme/theme7.xml><?xml version="1.0" encoding="utf-8"?>
<a:theme xmlns:a="http://schemas.openxmlformats.org/drawingml/2006/main" name="7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Template" id="{EF5E80A7-E0A0-4AC0-8F24-05E1254C525E}" vid="{AD97B92D-F238-48E0-BB4C-6300DD71F1FA}"/>
    </a:ext>
  </a:extLst>
</a:theme>
</file>

<file path=ppt/theme/theme8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9"/>
      </a:accent1>
      <a:accent2>
        <a:srgbClr val="009CDD"/>
      </a:accent2>
      <a:accent3>
        <a:srgbClr val="C1001F"/>
      </a:accent3>
      <a:accent4>
        <a:srgbClr val="C10068"/>
      </a:accent4>
      <a:accent5>
        <a:srgbClr val="CC3300"/>
      </a:accent5>
      <a:accent6>
        <a:srgbClr val="EAB90C"/>
      </a:accent6>
      <a:hlink>
        <a:srgbClr val="0000FF"/>
      </a:hlink>
      <a:folHlink>
        <a:srgbClr val="800080"/>
      </a:folHlink>
    </a:clrScheme>
    <a:fontScheme name="Custom 54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9"/>
        </a:accent1>
        <a:accent2>
          <a:srgbClr val="009CDD"/>
        </a:accent2>
        <a:accent3>
          <a:srgbClr val="C1001F"/>
        </a:accent3>
        <a:accent4>
          <a:srgbClr val="C10068"/>
        </a:accent4>
        <a:accent5>
          <a:srgbClr val="CC3300"/>
        </a:accent5>
        <a:accent6>
          <a:srgbClr val="EAB90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6633"/>
    </a:custClr>
    <a:custClr name="Custom Color7">
      <a:srgbClr val="B7C72A"/>
    </a:custClr>
  </a:custClrLst>
  <a:extLst>
    <a:ext uri="{05A4C25C-085E-4340-85A3-A5531E510DB2}">
      <thm15:themeFamily xmlns:thm15="http://schemas.microsoft.com/office/thememl/2012/main" name="LO3835_OFF_In line with client.potx" id="{D8013FC1-B1FD-45BE-AD5C-90852669EAC7}" vid="{693C120B-276F-4550-9B90-4C797B3A6322}"/>
    </a:ext>
  </a:extLst>
</a:theme>
</file>

<file path=ppt/theme/theme9.xml><?xml version="1.0" encoding="utf-8"?>
<a:theme xmlns:a="http://schemas.openxmlformats.org/drawingml/2006/main" name="6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Template" id="{EF5E80A7-E0A0-4AC0-8F24-05E1254C525E}" vid="{AD97B92D-F238-48E0-BB4C-6300DD71F1F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EC3A7167808B40A0B6AE3158C66F25" ma:contentTypeVersion="9" ma:contentTypeDescription="Create a new document." ma:contentTypeScope="" ma:versionID="eec1e71e1d65feb5f80c9d1686c96f17">
  <xsd:schema xmlns:xsd="http://www.w3.org/2001/XMLSchema" xmlns:xs="http://www.w3.org/2001/XMLSchema" xmlns:p="http://schemas.microsoft.com/office/2006/metadata/properties" xmlns:ns2="d7e5b82c-100c-40a1-938b-b1eda14fd86e" xmlns:ns3="c41ab2b4-f8c3-46cd-8d67-1ac8f8c7d83c" targetNamespace="http://schemas.microsoft.com/office/2006/metadata/properties" ma:root="true" ma:fieldsID="cc175be0d3b2f77f8a9c368314087811" ns2:_="" ns3:_="">
    <xsd:import namespace="d7e5b82c-100c-40a1-938b-b1eda14fd86e"/>
    <xsd:import namespace="c41ab2b4-f8c3-46cd-8d67-1ac8f8c7d8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e5b82c-100c-40a1-938b-b1eda14fd8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1ab2b4-f8c3-46cd-8d67-1ac8f8c7d83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FA7EBE-E1F9-4934-A6F3-CBDAD3787ADD}">
  <ds:schemaRefs>
    <ds:schemaRef ds:uri="http://purl.org/dc/terms/"/>
    <ds:schemaRef ds:uri="d7e5b82c-100c-40a1-938b-b1eda14fd86e"/>
    <ds:schemaRef ds:uri="c41ab2b4-f8c3-46cd-8d67-1ac8f8c7d83c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BD87E4E2-3DE5-4D9C-82B8-F30436814E5D}">
  <ds:schemaRefs>
    <ds:schemaRef ds:uri="c41ab2b4-f8c3-46cd-8d67-1ac8f8c7d83c"/>
    <ds:schemaRef ds:uri="d7e5b82c-100c-40a1-938b-b1eda14fd86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C3DDA4B-F1D1-4B6D-B3E2-CEB9F8469E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658</TotalTime>
  <Words>129</Words>
  <Application>Microsoft Macintosh PowerPoint</Application>
  <PresentationFormat>Widescreen</PresentationFormat>
  <Paragraphs>4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7" baseType="lpstr">
      <vt:lpstr>Arial</vt:lpstr>
      <vt:lpstr>Calibri</vt:lpstr>
      <vt:lpstr>Graphik Light</vt:lpstr>
      <vt:lpstr>Lucida Grande</vt:lpstr>
      <vt:lpstr>NOW TV Text</vt:lpstr>
      <vt:lpstr>NOW TV Text Light</vt:lpstr>
      <vt:lpstr>Segoe UI</vt:lpstr>
      <vt:lpstr>Sky Text</vt:lpstr>
      <vt:lpstr>Sky Text Medium</vt:lpstr>
      <vt:lpstr>Wingdings</vt:lpstr>
      <vt:lpstr>Sky - Template</vt:lpstr>
      <vt:lpstr>1_Sky - Template</vt:lpstr>
      <vt:lpstr>2_Sky - Template</vt:lpstr>
      <vt:lpstr>3_Sky - Template</vt:lpstr>
      <vt:lpstr>4_Sky - Template</vt:lpstr>
      <vt:lpstr>5_Sky - Template</vt:lpstr>
      <vt:lpstr>7_Sky - Template</vt:lpstr>
      <vt:lpstr>White</vt:lpstr>
      <vt:lpstr>6_Sky - Template</vt:lpstr>
      <vt:lpstr>8_Sky - Template</vt:lpstr>
      <vt:lpstr>9_Sky - Template</vt:lpstr>
      <vt:lpstr>think-cell Folie</vt:lpstr>
      <vt:lpstr>Gen AI Moodslider 2.0</vt:lpstr>
      <vt:lpstr>Moodslider task</vt:lpstr>
      <vt:lpstr>PowerPoint Presentation</vt:lpstr>
      <vt:lpstr>PowerPoint Presentation</vt:lpstr>
      <vt:lpstr>PowerPoint Presentation</vt:lpstr>
    </vt:vector>
  </TitlesOfParts>
  <Company>Sky UK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Allister, Robert (Hd of Operational Governance)</dc:creator>
  <cp:lastModifiedBy>Kumaran, Asha (Software Engineering Academy Manager)</cp:lastModifiedBy>
  <cp:revision>33</cp:revision>
  <dcterms:created xsi:type="dcterms:W3CDTF">2022-11-28T10:56:20Z</dcterms:created>
  <dcterms:modified xsi:type="dcterms:W3CDTF">2024-06-14T15:4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EC3A7167808B40A0B6AE3158C66F25</vt:lpwstr>
  </property>
</Properties>
</file>